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0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266" r:id="rId2"/>
    <p:sldId id="334" r:id="rId3"/>
    <p:sldId id="2147472464" r:id="rId4"/>
    <p:sldId id="325" r:id="rId5"/>
    <p:sldId id="2147376016" r:id="rId6"/>
    <p:sldId id="2147375996" r:id="rId7"/>
    <p:sldId id="344" r:id="rId8"/>
    <p:sldId id="257" r:id="rId9"/>
    <p:sldId id="256" r:id="rId10"/>
    <p:sldId id="2147472704" r:id="rId11"/>
    <p:sldId id="2147472699" r:id="rId12"/>
    <p:sldId id="2147472700" r:id="rId13"/>
    <p:sldId id="2147472701" r:id="rId14"/>
    <p:sldId id="2147472702" r:id="rId15"/>
    <p:sldId id="2147472703" r:id="rId16"/>
    <p:sldId id="327" r:id="rId17"/>
    <p:sldId id="484" r:id="rId18"/>
    <p:sldId id="2147472708" r:id="rId19"/>
    <p:sldId id="2147472709" r:id="rId20"/>
    <p:sldId id="267" r:id="rId21"/>
    <p:sldId id="2147376015" r:id="rId22"/>
    <p:sldId id="2147472705" r:id="rId23"/>
    <p:sldId id="2147472706" r:id="rId24"/>
  </p:sldIdLst>
  <p:sldSz cx="12192000" cy="6858000"/>
  <p:notesSz cx="6858000" cy="9144000"/>
  <p:custDataLst>
    <p:tags r:id="rId26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AFF"/>
    <a:srgbClr val="3078BA"/>
    <a:srgbClr val="EFF5FB"/>
    <a:srgbClr val="F6725C"/>
    <a:srgbClr val="E1A397"/>
    <a:srgbClr val="F5D7F3"/>
    <a:srgbClr val="7CAFDE"/>
    <a:srgbClr val="A9CBE9"/>
    <a:srgbClr val="FFF9E7"/>
    <a:srgbClr val="E3C9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94660"/>
  </p:normalViewPr>
  <p:slideViewPr>
    <p:cSldViewPr snapToGrid="0">
      <p:cViewPr varScale="1">
        <p:scale>
          <a:sx n="93" d="100"/>
          <a:sy n="93" d="100"/>
        </p:scale>
        <p:origin x="240" y="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educ_health%20medit%20FIN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liki\Documents\PKPS\Proyeksi%20Penduduk\TFR%20Per%20propinsi%2002042017.xls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nta2012/labor%20per%20propinsi%202012%2021072018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liki\Documents\PKPS\Proyeksi%20Penduduk\Trend%20TFR%201971%20_%202015.xls" TargetMode="Externa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educ_health%20medit%20FIN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bappenas/Downloads/educ_health%20medit%20FIN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liki\Documents\PKPS\Proyeksi%20Penduduk\Angka%20harapan%20hidup%20provinsi%20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aliki\Downloads\piramida%20penduduk%20jawa%20tengah%20(1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I\13.%20File%202023\Training\Paparan\NTA\educ_health_reg_graphic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just">
              <a:defRPr sz="1400" b="0" i="0" u="none" strike="noStrike" kern="1200" spc="0" baseline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pPr>
            <a:r>
              <a:rPr lang="en-US" sz="1400" b="1" i="1" dirty="0"/>
              <a:t>GNI per Capita</a:t>
            </a:r>
            <a:r>
              <a:rPr lang="en-US" sz="1400" b="1" i="1" baseline="0" dirty="0"/>
              <a:t> </a:t>
            </a:r>
            <a:r>
              <a:rPr lang="en-US" sz="1400" b="1" baseline="0" dirty="0"/>
              <a:t>Indonesia (Projected)</a:t>
            </a:r>
          </a:p>
          <a:p>
            <a:pPr algn="just">
              <a:defRPr sz="1400"/>
            </a:pPr>
            <a:r>
              <a:rPr lang="en-US" sz="1400" dirty="0"/>
              <a:t>(USD)</a:t>
            </a:r>
          </a:p>
        </c:rich>
      </c:tx>
      <c:layout>
        <c:manualLayout>
          <c:xMode val="edge"/>
          <c:yMode val="edge"/>
          <c:x val="3.2122416797435972E-2"/>
          <c:y val="1.11899498390673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400" b="0" i="0" u="none" strike="noStrike" kern="1200" spc="0" baseline="0">
              <a:solidFill>
                <a:schemeClr val="tx1"/>
              </a:solidFill>
              <a:latin typeface="Arial Nova" panose="020B0504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20006897909649E-2"/>
          <c:y val="0.17982249391381272"/>
          <c:w val="0.88162595055382753"/>
          <c:h val="0.7000062557987288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alisasi</c:v>
                </c:pt>
              </c:strCache>
            </c:strRef>
          </c:tx>
          <c:spPr>
            <a:ln w="571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B$2:$B$78</c:f>
              <c:numCache>
                <c:formatCode>General</c:formatCode>
                <c:ptCount val="77"/>
                <c:pt idx="0">
                  <c:v>70</c:v>
                </c:pt>
                <c:pt idx="1">
                  <c:v>80</c:v>
                </c:pt>
                <c:pt idx="2">
                  <c:v>80</c:v>
                </c:pt>
                <c:pt idx="3">
                  <c:v>90</c:v>
                </c:pt>
                <c:pt idx="4">
                  <c:v>110</c:v>
                </c:pt>
                <c:pt idx="5">
                  <c:v>160</c:v>
                </c:pt>
                <c:pt idx="6">
                  <c:v>220</c:v>
                </c:pt>
                <c:pt idx="7">
                  <c:v>270</c:v>
                </c:pt>
                <c:pt idx="8">
                  <c:v>300</c:v>
                </c:pt>
                <c:pt idx="9">
                  <c:v>360</c:v>
                </c:pt>
                <c:pt idx="10">
                  <c:v>400</c:v>
                </c:pt>
                <c:pt idx="11">
                  <c:v>470</c:v>
                </c:pt>
                <c:pt idx="12">
                  <c:v>530</c:v>
                </c:pt>
                <c:pt idx="13">
                  <c:v>560</c:v>
                </c:pt>
                <c:pt idx="14">
                  <c:v>530</c:v>
                </c:pt>
                <c:pt idx="15">
                  <c:v>520</c:v>
                </c:pt>
                <c:pt idx="16">
                  <c:v>500</c:v>
                </c:pt>
                <c:pt idx="17">
                  <c:v>510</c:v>
                </c:pt>
                <c:pt idx="18">
                  <c:v>510</c:v>
                </c:pt>
                <c:pt idx="19">
                  <c:v>510</c:v>
                </c:pt>
                <c:pt idx="20">
                  <c:v>530</c:v>
                </c:pt>
                <c:pt idx="21">
                  <c:v>560</c:v>
                </c:pt>
                <c:pt idx="22">
                  <c:v>610</c:v>
                </c:pt>
                <c:pt idx="23">
                  <c:v>660</c:v>
                </c:pt>
                <c:pt idx="24">
                  <c:v>740</c:v>
                </c:pt>
                <c:pt idx="25">
                  <c:v>850</c:v>
                </c:pt>
                <c:pt idx="26">
                  <c:v>990</c:v>
                </c:pt>
                <c:pt idx="27">
                  <c:v>1090</c:v>
                </c:pt>
                <c:pt idx="28">
                  <c:v>1100</c:v>
                </c:pt>
                <c:pt idx="29">
                  <c:v>660</c:v>
                </c:pt>
                <c:pt idx="30">
                  <c:v>570</c:v>
                </c:pt>
                <c:pt idx="31">
                  <c:v>580</c:v>
                </c:pt>
                <c:pt idx="32">
                  <c:v>720</c:v>
                </c:pt>
                <c:pt idx="33">
                  <c:v>790</c:v>
                </c:pt>
                <c:pt idx="34">
                  <c:v>900</c:v>
                </c:pt>
                <c:pt idx="35">
                  <c:v>1080</c:v>
                </c:pt>
                <c:pt idx="36">
                  <c:v>1220</c:v>
                </c:pt>
                <c:pt idx="37">
                  <c:v>1380</c:v>
                </c:pt>
                <c:pt idx="38">
                  <c:v>1600</c:v>
                </c:pt>
                <c:pt idx="39">
                  <c:v>1940</c:v>
                </c:pt>
                <c:pt idx="40">
                  <c:v>2150</c:v>
                </c:pt>
                <c:pt idx="41">
                  <c:v>2530</c:v>
                </c:pt>
                <c:pt idx="42">
                  <c:v>3010</c:v>
                </c:pt>
                <c:pt idx="43">
                  <c:v>3580</c:v>
                </c:pt>
                <c:pt idx="44">
                  <c:v>3730</c:v>
                </c:pt>
                <c:pt idx="45">
                  <c:v>3620</c:v>
                </c:pt>
                <c:pt idx="46">
                  <c:v>3430</c:v>
                </c:pt>
                <c:pt idx="47">
                  <c:v>3400</c:v>
                </c:pt>
                <c:pt idx="48">
                  <c:v>3530</c:v>
                </c:pt>
                <c:pt idx="49">
                  <c:v>3840</c:v>
                </c:pt>
                <c:pt idx="50">
                  <c:v>4050</c:v>
                </c:pt>
                <c:pt idx="51">
                  <c:v>3870</c:v>
                </c:pt>
                <c:pt idx="52">
                  <c:v>414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5A0-3545-92E9-BD7CD12407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DP 5%</c:v>
                </c:pt>
              </c:strCache>
            </c:strRef>
          </c:tx>
          <c:spPr>
            <a:ln w="38100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52"/>
            <c:marker>
              <c:symbol val="none"/>
            </c:marker>
            <c:bubble3D val="0"/>
            <c:spPr>
              <a:ln w="38100" cap="rnd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A5A0-3545-92E9-BD7CD12407AA}"/>
              </c:ext>
            </c:extLst>
          </c:dPt>
          <c:dPt>
            <c:idx val="57"/>
            <c:marker>
              <c:symbol val="none"/>
            </c:marker>
            <c:bubble3D val="0"/>
            <c:spPr>
              <a:ln w="38100" cap="rnd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A5A0-3545-92E9-BD7CD12407AA}"/>
              </c:ext>
            </c:extLst>
          </c:dPt>
          <c:dPt>
            <c:idx val="59"/>
            <c:marker>
              <c:symbol val="none"/>
            </c:marker>
            <c:bubble3D val="0"/>
            <c:spPr>
              <a:ln w="38100" cap="rnd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A5A0-3545-92E9-BD7CD12407AA}"/>
              </c:ext>
            </c:extLst>
          </c:dPt>
          <c:dPt>
            <c:idx val="63"/>
            <c:marker>
              <c:symbol val="none"/>
            </c:marker>
            <c:bubble3D val="0"/>
            <c:spPr>
              <a:ln w="38100" cap="rnd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A5A0-3545-92E9-BD7CD12407AA}"/>
              </c:ext>
            </c:extLst>
          </c:dPt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C$2:$C$78</c:f>
              <c:numCache>
                <c:formatCode>General</c:formatCode>
                <c:ptCount val="77"/>
                <c:pt idx="41">
                  <c:v>2530</c:v>
                </c:pt>
                <c:pt idx="42">
                  <c:v>3010</c:v>
                </c:pt>
                <c:pt idx="43">
                  <c:v>3580</c:v>
                </c:pt>
                <c:pt idx="44">
                  <c:v>3730</c:v>
                </c:pt>
                <c:pt idx="45">
                  <c:v>3620</c:v>
                </c:pt>
                <c:pt idx="46">
                  <c:v>3430</c:v>
                </c:pt>
                <c:pt idx="47">
                  <c:v>3400</c:v>
                </c:pt>
                <c:pt idx="48">
                  <c:v>3530</c:v>
                </c:pt>
                <c:pt idx="49">
                  <c:v>3840</c:v>
                </c:pt>
                <c:pt idx="50">
                  <c:v>4050</c:v>
                </c:pt>
                <c:pt idx="51">
                  <c:v>3870</c:v>
                </c:pt>
                <c:pt idx="52">
                  <c:v>4140</c:v>
                </c:pt>
                <c:pt idx="53">
                  <c:v>4460</c:v>
                </c:pt>
                <c:pt idx="54">
                  <c:v>4730</c:v>
                </c:pt>
                <c:pt idx="55">
                  <c:v>5100</c:v>
                </c:pt>
                <c:pt idx="56">
                  <c:v>5560</c:v>
                </c:pt>
                <c:pt idx="57">
                  <c:v>6120</c:v>
                </c:pt>
                <c:pt idx="58">
                  <c:v>6490</c:v>
                </c:pt>
                <c:pt idx="59">
                  <c:v>6820</c:v>
                </c:pt>
                <c:pt idx="60">
                  <c:v>7180</c:v>
                </c:pt>
                <c:pt idx="61">
                  <c:v>7550</c:v>
                </c:pt>
                <c:pt idx="62">
                  <c:v>7930</c:v>
                </c:pt>
                <c:pt idx="63">
                  <c:v>8330</c:v>
                </c:pt>
                <c:pt idx="64">
                  <c:v>8760</c:v>
                </c:pt>
                <c:pt idx="65">
                  <c:v>9220</c:v>
                </c:pt>
                <c:pt idx="66">
                  <c:v>9730</c:v>
                </c:pt>
                <c:pt idx="67">
                  <c:v>10270</c:v>
                </c:pt>
                <c:pt idx="68">
                  <c:v>10850</c:v>
                </c:pt>
                <c:pt idx="69">
                  <c:v>11450</c:v>
                </c:pt>
                <c:pt idx="70">
                  <c:v>12090</c:v>
                </c:pt>
                <c:pt idx="71">
                  <c:v>12760</c:v>
                </c:pt>
                <c:pt idx="72">
                  <c:v>13480</c:v>
                </c:pt>
                <c:pt idx="73">
                  <c:v>14230</c:v>
                </c:pt>
                <c:pt idx="74">
                  <c:v>15030</c:v>
                </c:pt>
                <c:pt idx="75">
                  <c:v>15870</c:v>
                </c:pt>
                <c:pt idx="76">
                  <c:v>168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5A0-3545-92E9-BD7CD12407A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DP 6%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73"/>
              <c:layout>
                <c:manualLayout>
                  <c:x val="-6.5783579800621245E-2"/>
                  <c:y val="-0.2261684806606256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bg1"/>
                        </a:solidFill>
                        <a:latin typeface="Arial Nova" panose="020B0504020202020204" pitchFamily="34" charset="0"/>
                        <a:ea typeface="+mn-ea"/>
                        <a:cs typeface="+mn-cs"/>
                      </a:defRPr>
                    </a:pPr>
                    <a:r>
                      <a:rPr lang="en-US" sz="2000" b="1" i="0" u="none" strike="noStrike" kern="1200" baseline="0">
                        <a:solidFill>
                          <a:schemeClr val="bg1"/>
                        </a:solidFill>
                        <a:latin typeface="Arial Nova" panose="020B0504020202020204" pitchFamily="34" charset="0"/>
                      </a:rPr>
                      <a:t>2040</a:t>
                    </a:r>
                    <a:endParaRPr lang="en-US" sz="2000" b="1">
                      <a:solidFill>
                        <a:schemeClr val="bg1"/>
                      </a:solidFill>
                    </a:endParaRPr>
                  </a:p>
                </c:rich>
              </c:tx>
              <c:numFmt formatCode="#,##0" sourceLinked="0"/>
              <c:spPr>
                <a:solidFill>
                  <a:srgbClr val="C000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Arial Nova" panose="020B05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303406786633665E-2"/>
                      <c:h val="8.162306782632033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A-A5A0-3545-92E9-BD7CD12407AA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 Nova" panose="020B05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D$2:$D$78</c:f>
              <c:numCache>
                <c:formatCode>General</c:formatCode>
                <c:ptCount val="77"/>
                <c:pt idx="41">
                  <c:v>2640</c:v>
                </c:pt>
                <c:pt idx="42">
                  <c:v>3080</c:v>
                </c:pt>
                <c:pt idx="43">
                  <c:v>3570</c:v>
                </c:pt>
                <c:pt idx="44">
                  <c:v>3730</c:v>
                </c:pt>
                <c:pt idx="45">
                  <c:v>3620</c:v>
                </c:pt>
                <c:pt idx="46">
                  <c:v>3430</c:v>
                </c:pt>
                <c:pt idx="47">
                  <c:v>3410</c:v>
                </c:pt>
                <c:pt idx="48">
                  <c:v>3540</c:v>
                </c:pt>
                <c:pt idx="49">
                  <c:v>3800</c:v>
                </c:pt>
                <c:pt idx="50">
                  <c:v>4020</c:v>
                </c:pt>
                <c:pt idx="51">
                  <c:v>3830</c:v>
                </c:pt>
                <c:pt idx="52">
                  <c:v>4160</c:v>
                </c:pt>
                <c:pt idx="53">
                  <c:v>4460</c:v>
                </c:pt>
                <c:pt idx="54">
                  <c:v>4760</c:v>
                </c:pt>
                <c:pt idx="55">
                  <c:v>5150</c:v>
                </c:pt>
                <c:pt idx="56">
                  <c:v>5660</c:v>
                </c:pt>
                <c:pt idx="57">
                  <c:v>6280</c:v>
                </c:pt>
                <c:pt idx="58">
                  <c:v>6730</c:v>
                </c:pt>
                <c:pt idx="59">
                  <c:v>7170</c:v>
                </c:pt>
                <c:pt idx="60">
                  <c:v>7650</c:v>
                </c:pt>
                <c:pt idx="61">
                  <c:v>8200</c:v>
                </c:pt>
                <c:pt idx="62">
                  <c:v>8790</c:v>
                </c:pt>
                <c:pt idx="63">
                  <c:v>9440</c:v>
                </c:pt>
                <c:pt idx="64">
                  <c:v>10160</c:v>
                </c:pt>
                <c:pt idx="65">
                  <c:v>10980</c:v>
                </c:pt>
                <c:pt idx="66">
                  <c:v>11910</c:v>
                </c:pt>
                <c:pt idx="67">
                  <c:v>12900</c:v>
                </c:pt>
                <c:pt idx="68">
                  <c:v>13940</c:v>
                </c:pt>
                <c:pt idx="69">
                  <c:v>15030</c:v>
                </c:pt>
                <c:pt idx="70">
                  <c:v>16160</c:v>
                </c:pt>
                <c:pt idx="71">
                  <c:v>17320</c:v>
                </c:pt>
                <c:pt idx="72">
                  <c:v>18520</c:v>
                </c:pt>
                <c:pt idx="73">
                  <c:v>19760</c:v>
                </c:pt>
                <c:pt idx="74">
                  <c:v>21050</c:v>
                </c:pt>
                <c:pt idx="75">
                  <c:v>22390</c:v>
                </c:pt>
                <c:pt idx="76">
                  <c:v>238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A5A0-3545-92E9-BD7CD12407A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DP 7%</c:v>
                </c:pt>
              </c:strCache>
            </c:strRef>
          </c:tx>
          <c:spPr>
            <a:ln w="38100" cap="rnd">
              <a:solidFill>
                <a:srgbClr val="E1AA12"/>
              </a:solidFill>
              <a:round/>
            </a:ln>
            <a:effectLst/>
          </c:spPr>
          <c:marker>
            <c:symbol val="none"/>
          </c:marker>
          <c:dPt>
            <c:idx val="41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A5A0-3545-92E9-BD7CD12407AA}"/>
              </c:ext>
            </c:extLst>
          </c:dPt>
          <c:dPt>
            <c:idx val="42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A5A0-3545-92E9-BD7CD12407AA}"/>
              </c:ext>
            </c:extLst>
          </c:dPt>
          <c:dPt>
            <c:idx val="43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A5A0-3545-92E9-BD7CD12407AA}"/>
              </c:ext>
            </c:extLst>
          </c:dPt>
          <c:dPt>
            <c:idx val="44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A5A0-3545-92E9-BD7CD12407AA}"/>
              </c:ext>
            </c:extLst>
          </c:dPt>
          <c:dPt>
            <c:idx val="45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A5A0-3545-92E9-BD7CD12407AA}"/>
              </c:ext>
            </c:extLst>
          </c:dPt>
          <c:dPt>
            <c:idx val="46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A5A0-3545-92E9-BD7CD12407AA}"/>
              </c:ext>
            </c:extLst>
          </c:dPt>
          <c:dPt>
            <c:idx val="47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A5A0-3545-92E9-BD7CD12407AA}"/>
              </c:ext>
            </c:extLst>
          </c:dPt>
          <c:dPt>
            <c:idx val="48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B-A5A0-3545-92E9-BD7CD12407AA}"/>
              </c:ext>
            </c:extLst>
          </c:dPt>
          <c:dPt>
            <c:idx val="49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A5A0-3545-92E9-BD7CD12407AA}"/>
              </c:ext>
            </c:extLst>
          </c:dPt>
          <c:dPt>
            <c:idx val="50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A5A0-3545-92E9-BD7CD12407AA}"/>
              </c:ext>
            </c:extLst>
          </c:dPt>
          <c:dPt>
            <c:idx val="51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A5A0-3545-92E9-BD7CD12407AA}"/>
              </c:ext>
            </c:extLst>
          </c:dPt>
          <c:dPt>
            <c:idx val="52"/>
            <c:marker>
              <c:symbol val="none"/>
            </c:marker>
            <c:bubble3D val="0"/>
            <c:spPr>
              <a:ln w="3810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A5A0-3545-92E9-BD7CD12407AA}"/>
              </c:ext>
            </c:extLst>
          </c:dPt>
          <c:dLbls>
            <c:dLbl>
              <c:idx val="53"/>
              <c:layout>
                <c:manualLayout>
                  <c:x val="4.1324913422225426E-2"/>
                  <c:y val="1.82352398483023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0" i="0" u="none" strike="noStrike" kern="1200" baseline="0">
                        <a:solidFill>
                          <a:schemeClr val="bg1"/>
                        </a:solidFill>
                        <a:latin typeface="Arial Nova" panose="020B0504020202020204" pitchFamily="34" charset="0"/>
                        <a:ea typeface="+mn-ea"/>
                        <a:cs typeface="+mn-cs"/>
                      </a:defRPr>
                    </a:pPr>
                    <a:r>
                      <a:rPr lang="en-US" sz="1050">
                        <a:solidFill>
                          <a:schemeClr val="bg1"/>
                        </a:solidFill>
                      </a:rPr>
                      <a:t>Proyeksi </a:t>
                    </a:r>
                    <a:r>
                      <a:rPr lang="en-US" sz="1050" i="1">
                        <a:solidFill>
                          <a:schemeClr val="bg1"/>
                        </a:solidFill>
                      </a:rPr>
                      <a:t>GNI per Capita </a:t>
                    </a:r>
                    <a:r>
                      <a:rPr lang="en-US" sz="1050">
                        <a:solidFill>
                          <a:schemeClr val="bg1"/>
                        </a:solidFill>
                      </a:rPr>
                      <a:t>2022</a:t>
                    </a:r>
                    <a:br>
                      <a:rPr lang="en-US" sz="1050">
                        <a:solidFill>
                          <a:schemeClr val="bg1"/>
                        </a:solidFill>
                      </a:rPr>
                    </a:br>
                    <a:fld id="{FA920C3C-BC23-401E-994B-329CEB80FF04}" type="VALUE">
                      <a:rPr lang="en-US" sz="1050" b="1" smtClean="0">
                        <a:solidFill>
                          <a:schemeClr val="bg1"/>
                        </a:solidFill>
                      </a:rPr>
                      <a:pPr>
                        <a:defRPr sz="105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050">
                      <a:solidFill>
                        <a:schemeClr val="bg1"/>
                      </a:solidFill>
                    </a:endParaRPr>
                  </a:p>
                </c:rich>
              </c:tx>
              <c:numFmt formatCode="#,##0" sourceLinked="0"/>
              <c:spPr>
                <a:solidFill>
                  <a:srgbClr val="09588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Arial Nova" panose="020B05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4-A5A0-3545-92E9-BD7CD12407AA}"/>
                </c:ext>
              </c:extLst>
            </c:dLbl>
            <c:spPr>
              <a:solidFill>
                <a:srgbClr val="09588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 Nova" panose="020B05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E$2:$E$78</c:f>
              <c:numCache>
                <c:formatCode>General</c:formatCode>
                <c:ptCount val="77"/>
                <c:pt idx="41">
                  <c:v>2530</c:v>
                </c:pt>
                <c:pt idx="42">
                  <c:v>3010</c:v>
                </c:pt>
                <c:pt idx="43">
                  <c:v>3580</c:v>
                </c:pt>
                <c:pt idx="44">
                  <c:v>3730</c:v>
                </c:pt>
                <c:pt idx="45">
                  <c:v>3620</c:v>
                </c:pt>
                <c:pt idx="46">
                  <c:v>3430</c:v>
                </c:pt>
                <c:pt idx="47">
                  <c:v>3400</c:v>
                </c:pt>
                <c:pt idx="48">
                  <c:v>3530</c:v>
                </c:pt>
                <c:pt idx="49">
                  <c:v>3840</c:v>
                </c:pt>
                <c:pt idx="50">
                  <c:v>4050</c:v>
                </c:pt>
                <c:pt idx="51">
                  <c:v>3870</c:v>
                </c:pt>
                <c:pt idx="52">
                  <c:v>4140</c:v>
                </c:pt>
                <c:pt idx="53">
                  <c:v>4460</c:v>
                </c:pt>
                <c:pt idx="54">
                  <c:v>4780</c:v>
                </c:pt>
                <c:pt idx="55">
                  <c:v>5230</c:v>
                </c:pt>
                <c:pt idx="56">
                  <c:v>5830</c:v>
                </c:pt>
                <c:pt idx="57">
                  <c:v>6580</c:v>
                </c:pt>
                <c:pt idx="58">
                  <c:v>7160</c:v>
                </c:pt>
                <c:pt idx="59">
                  <c:v>7760</c:v>
                </c:pt>
                <c:pt idx="60">
                  <c:v>8390</c:v>
                </c:pt>
                <c:pt idx="61">
                  <c:v>9090</c:v>
                </c:pt>
                <c:pt idx="62">
                  <c:v>9830</c:v>
                </c:pt>
                <c:pt idx="63">
                  <c:v>10610</c:v>
                </c:pt>
                <c:pt idx="64">
                  <c:v>11480</c:v>
                </c:pt>
                <c:pt idx="65">
                  <c:v>12440</c:v>
                </c:pt>
                <c:pt idx="66">
                  <c:v>13510</c:v>
                </c:pt>
                <c:pt idx="67">
                  <c:v>14680</c:v>
                </c:pt>
                <c:pt idx="68">
                  <c:v>15960</c:v>
                </c:pt>
                <c:pt idx="69">
                  <c:v>17310</c:v>
                </c:pt>
                <c:pt idx="70">
                  <c:v>18780</c:v>
                </c:pt>
                <c:pt idx="71">
                  <c:v>20370</c:v>
                </c:pt>
                <c:pt idx="72">
                  <c:v>22100</c:v>
                </c:pt>
                <c:pt idx="73">
                  <c:v>23970</c:v>
                </c:pt>
                <c:pt idx="74">
                  <c:v>26000</c:v>
                </c:pt>
                <c:pt idx="75">
                  <c:v>28150</c:v>
                </c:pt>
                <c:pt idx="76">
                  <c:v>305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A5A0-3545-92E9-BD7CD12407A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hreshold High Income Country</c:v>
                </c:pt>
              </c:strCache>
            </c:strRef>
          </c:tx>
          <c:spPr>
            <a:ln w="19050" cap="rnd">
              <a:solidFill>
                <a:srgbClr val="1F4E79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F$2:$F$78</c:f>
              <c:numCache>
                <c:formatCode>General</c:formatCode>
                <c:ptCount val="77"/>
                <c:pt idx="0">
                  <c:v>6000</c:v>
                </c:pt>
                <c:pt idx="1">
                  <c:v>6000</c:v>
                </c:pt>
                <c:pt idx="2">
                  <c:v>6000</c:v>
                </c:pt>
                <c:pt idx="3">
                  <c:v>6000</c:v>
                </c:pt>
                <c:pt idx="4">
                  <c:v>6000</c:v>
                </c:pt>
                <c:pt idx="5">
                  <c:v>6000</c:v>
                </c:pt>
                <c:pt idx="6">
                  <c:v>6000</c:v>
                </c:pt>
                <c:pt idx="7">
                  <c:v>6000</c:v>
                </c:pt>
                <c:pt idx="8">
                  <c:v>6000</c:v>
                </c:pt>
                <c:pt idx="9">
                  <c:v>6000</c:v>
                </c:pt>
                <c:pt idx="10">
                  <c:v>6000</c:v>
                </c:pt>
                <c:pt idx="11">
                  <c:v>6000</c:v>
                </c:pt>
                <c:pt idx="12">
                  <c:v>6000</c:v>
                </c:pt>
                <c:pt idx="13">
                  <c:v>6000</c:v>
                </c:pt>
                <c:pt idx="14">
                  <c:v>6000</c:v>
                </c:pt>
                <c:pt idx="15">
                  <c:v>6000</c:v>
                </c:pt>
                <c:pt idx="16">
                  <c:v>6000</c:v>
                </c:pt>
                <c:pt idx="17">
                  <c:v>6000</c:v>
                </c:pt>
                <c:pt idx="18">
                  <c:v>6000</c:v>
                </c:pt>
                <c:pt idx="19">
                  <c:v>6000</c:v>
                </c:pt>
                <c:pt idx="20">
                  <c:v>6000</c:v>
                </c:pt>
                <c:pt idx="21">
                  <c:v>6000</c:v>
                </c:pt>
                <c:pt idx="22">
                  <c:v>7620</c:v>
                </c:pt>
                <c:pt idx="23">
                  <c:v>7910</c:v>
                </c:pt>
                <c:pt idx="24">
                  <c:v>8355</c:v>
                </c:pt>
                <c:pt idx="25">
                  <c:v>8625</c:v>
                </c:pt>
                <c:pt idx="26">
                  <c:v>8955</c:v>
                </c:pt>
                <c:pt idx="27">
                  <c:v>9385</c:v>
                </c:pt>
                <c:pt idx="28">
                  <c:v>9645</c:v>
                </c:pt>
                <c:pt idx="29">
                  <c:v>9655</c:v>
                </c:pt>
                <c:pt idx="30">
                  <c:v>9360</c:v>
                </c:pt>
                <c:pt idx="31">
                  <c:v>9265</c:v>
                </c:pt>
                <c:pt idx="32">
                  <c:v>9265</c:v>
                </c:pt>
                <c:pt idx="33">
                  <c:v>9205</c:v>
                </c:pt>
                <c:pt idx="34">
                  <c:v>9075</c:v>
                </c:pt>
                <c:pt idx="35">
                  <c:v>9385</c:v>
                </c:pt>
                <c:pt idx="36">
                  <c:v>10065</c:v>
                </c:pt>
                <c:pt idx="37">
                  <c:v>10725</c:v>
                </c:pt>
                <c:pt idx="38">
                  <c:v>11115</c:v>
                </c:pt>
                <c:pt idx="39">
                  <c:v>11455</c:v>
                </c:pt>
                <c:pt idx="40">
                  <c:v>11905</c:v>
                </c:pt>
                <c:pt idx="41">
                  <c:v>12195</c:v>
                </c:pt>
                <c:pt idx="42">
                  <c:v>12275</c:v>
                </c:pt>
                <c:pt idx="43">
                  <c:v>12475</c:v>
                </c:pt>
                <c:pt idx="44">
                  <c:v>12615</c:v>
                </c:pt>
                <c:pt idx="45">
                  <c:v>12745</c:v>
                </c:pt>
                <c:pt idx="46">
                  <c:v>12735</c:v>
                </c:pt>
                <c:pt idx="47">
                  <c:v>12475</c:v>
                </c:pt>
                <c:pt idx="48">
                  <c:v>12235</c:v>
                </c:pt>
                <c:pt idx="49">
                  <c:v>12055</c:v>
                </c:pt>
                <c:pt idx="50">
                  <c:v>12375</c:v>
                </c:pt>
                <c:pt idx="51">
                  <c:v>12535</c:v>
                </c:pt>
                <c:pt idx="52" formatCode="0">
                  <c:v>12695</c:v>
                </c:pt>
                <c:pt idx="53" formatCode="0">
                  <c:v>13205</c:v>
                </c:pt>
                <c:pt idx="54" formatCode="0">
                  <c:v>13525.35747696716</c:v>
                </c:pt>
                <c:pt idx="55" formatCode="0">
                  <c:v>13774.690084429089</c:v>
                </c:pt>
                <c:pt idx="56" formatCode="0">
                  <c:v>14055.248787250926</c:v>
                </c:pt>
                <c:pt idx="57" formatCode="0">
                  <c:v>14334.517606951587</c:v>
                </c:pt>
                <c:pt idx="58" formatCode="0">
                  <c:v>14625.282944303657</c:v>
                </c:pt>
                <c:pt idx="59" formatCode="0">
                  <c:v>14924.580185546554</c:v>
                </c:pt>
                <c:pt idx="60" formatCode="0">
                  <c:v>15105.44579270828</c:v>
                </c:pt>
                <c:pt idx="61" formatCode="0">
                  <c:v>15284.503055424284</c:v>
                </c:pt>
                <c:pt idx="62" formatCode="0">
                  <c:v>15464.501386415621</c:v>
                </c:pt>
                <c:pt idx="63" formatCode="0">
                  <c:v>15654.579297017151</c:v>
                </c:pt>
                <c:pt idx="64" formatCode="0">
                  <c:v>15854.988402502111</c:v>
                </c:pt>
                <c:pt idx="65" formatCode="0">
                  <c:v>16044.968727829519</c:v>
                </c:pt>
                <c:pt idx="66" formatCode="0">
                  <c:v>16244.846914426762</c:v>
                </c:pt>
                <c:pt idx="67" formatCode="0">
                  <c:v>16454.823971579044</c:v>
                </c:pt>
                <c:pt idx="68" formatCode="0">
                  <c:v>16664.906420603595</c:v>
                </c:pt>
                <c:pt idx="69" formatCode="0">
                  <c:v>16874.985908911429</c:v>
                </c:pt>
                <c:pt idx="70" formatCode="0">
                  <c:v>17084.807904398207</c:v>
                </c:pt>
                <c:pt idx="71" formatCode="0">
                  <c:v>17294.574931512827</c:v>
                </c:pt>
                <c:pt idx="72" formatCode="0">
                  <c:v>17514.501777484398</c:v>
                </c:pt>
                <c:pt idx="73" formatCode="0">
                  <c:v>17734.770425429222</c:v>
                </c:pt>
                <c:pt idx="74" formatCode="0">
                  <c:v>17965.214163906985</c:v>
                </c:pt>
                <c:pt idx="75" formatCode="0">
                  <c:v>18194.582569509093</c:v>
                </c:pt>
                <c:pt idx="76" formatCode="0">
                  <c:v>18424.639169087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6-A5A0-3545-92E9-BD7CD12407A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ow Income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G$2:$G$78</c:f>
              <c:numCache>
                <c:formatCode>General</c:formatCode>
                <c:ptCount val="77"/>
                <c:pt idx="0">
                  <c:v>480</c:v>
                </c:pt>
                <c:pt idx="1">
                  <c:v>480</c:v>
                </c:pt>
                <c:pt idx="2">
                  <c:v>480</c:v>
                </c:pt>
                <c:pt idx="3">
                  <c:v>480</c:v>
                </c:pt>
                <c:pt idx="4">
                  <c:v>480</c:v>
                </c:pt>
                <c:pt idx="5">
                  <c:v>480</c:v>
                </c:pt>
                <c:pt idx="6">
                  <c:v>480</c:v>
                </c:pt>
                <c:pt idx="7">
                  <c:v>480</c:v>
                </c:pt>
                <c:pt idx="8">
                  <c:v>480</c:v>
                </c:pt>
                <c:pt idx="9">
                  <c:v>480</c:v>
                </c:pt>
                <c:pt idx="10">
                  <c:v>480</c:v>
                </c:pt>
                <c:pt idx="11">
                  <c:v>480</c:v>
                </c:pt>
                <c:pt idx="12">
                  <c:v>480</c:v>
                </c:pt>
                <c:pt idx="13">
                  <c:v>480</c:v>
                </c:pt>
                <c:pt idx="14">
                  <c:v>480</c:v>
                </c:pt>
                <c:pt idx="15">
                  <c:v>480</c:v>
                </c:pt>
                <c:pt idx="16">
                  <c:v>480</c:v>
                </c:pt>
                <c:pt idx="17">
                  <c:v>480</c:v>
                </c:pt>
                <c:pt idx="18">
                  <c:v>480</c:v>
                </c:pt>
                <c:pt idx="19">
                  <c:v>480</c:v>
                </c:pt>
                <c:pt idx="20">
                  <c:v>545</c:v>
                </c:pt>
                <c:pt idx="21">
                  <c:v>580</c:v>
                </c:pt>
                <c:pt idx="22">
                  <c:v>610</c:v>
                </c:pt>
                <c:pt idx="23">
                  <c:v>635</c:v>
                </c:pt>
                <c:pt idx="24">
                  <c:v>675</c:v>
                </c:pt>
                <c:pt idx="25">
                  <c:v>695</c:v>
                </c:pt>
                <c:pt idx="26">
                  <c:v>725</c:v>
                </c:pt>
                <c:pt idx="27">
                  <c:v>765</c:v>
                </c:pt>
                <c:pt idx="28">
                  <c:v>785</c:v>
                </c:pt>
                <c:pt idx="29">
                  <c:v>785</c:v>
                </c:pt>
                <c:pt idx="30">
                  <c:v>760</c:v>
                </c:pt>
                <c:pt idx="31">
                  <c:v>755</c:v>
                </c:pt>
                <c:pt idx="32">
                  <c:v>755</c:v>
                </c:pt>
                <c:pt idx="33">
                  <c:v>745</c:v>
                </c:pt>
                <c:pt idx="34">
                  <c:v>735</c:v>
                </c:pt>
                <c:pt idx="35">
                  <c:v>765</c:v>
                </c:pt>
                <c:pt idx="36">
                  <c:v>825</c:v>
                </c:pt>
                <c:pt idx="37">
                  <c:v>875</c:v>
                </c:pt>
                <c:pt idx="38">
                  <c:v>905</c:v>
                </c:pt>
                <c:pt idx="39">
                  <c:v>935</c:v>
                </c:pt>
                <c:pt idx="40">
                  <c:v>975</c:v>
                </c:pt>
                <c:pt idx="41">
                  <c:v>995</c:v>
                </c:pt>
                <c:pt idx="42">
                  <c:v>1005</c:v>
                </c:pt>
                <c:pt idx="43">
                  <c:v>1025</c:v>
                </c:pt>
                <c:pt idx="44">
                  <c:v>1035</c:v>
                </c:pt>
                <c:pt idx="45">
                  <c:v>1045</c:v>
                </c:pt>
                <c:pt idx="46">
                  <c:v>1045</c:v>
                </c:pt>
                <c:pt idx="47">
                  <c:v>1025</c:v>
                </c:pt>
                <c:pt idx="48">
                  <c:v>1005</c:v>
                </c:pt>
                <c:pt idx="49">
                  <c:v>995</c:v>
                </c:pt>
                <c:pt idx="50">
                  <c:v>1025</c:v>
                </c:pt>
                <c:pt idx="51">
                  <c:v>1035</c:v>
                </c:pt>
                <c:pt idx="52">
                  <c:v>1045</c:v>
                </c:pt>
                <c:pt idx="53">
                  <c:v>1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7-A5A0-3545-92E9-BD7CD12407A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Upper-Middle Income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78</c:f>
              <c:numCache>
                <c:formatCode>General</c:formatCode>
                <c:ptCount val="77"/>
                <c:pt idx="0">
                  <c:v>1969</c:v>
                </c:pt>
                <c:pt idx="1">
                  <c:v>1970</c:v>
                </c:pt>
                <c:pt idx="2">
                  <c:v>1971</c:v>
                </c:pt>
                <c:pt idx="3">
                  <c:v>1972</c:v>
                </c:pt>
                <c:pt idx="4">
                  <c:v>1973</c:v>
                </c:pt>
                <c:pt idx="5">
                  <c:v>1974</c:v>
                </c:pt>
                <c:pt idx="6">
                  <c:v>1975</c:v>
                </c:pt>
                <c:pt idx="7">
                  <c:v>1976</c:v>
                </c:pt>
                <c:pt idx="8">
                  <c:v>1977</c:v>
                </c:pt>
                <c:pt idx="9">
                  <c:v>1978</c:v>
                </c:pt>
                <c:pt idx="10">
                  <c:v>1979</c:v>
                </c:pt>
                <c:pt idx="11">
                  <c:v>1980</c:v>
                </c:pt>
                <c:pt idx="12">
                  <c:v>1981</c:v>
                </c:pt>
                <c:pt idx="13">
                  <c:v>1982</c:v>
                </c:pt>
                <c:pt idx="14">
                  <c:v>1983</c:v>
                </c:pt>
                <c:pt idx="15">
                  <c:v>1984</c:v>
                </c:pt>
                <c:pt idx="16">
                  <c:v>1985</c:v>
                </c:pt>
                <c:pt idx="17">
                  <c:v>1986</c:v>
                </c:pt>
                <c:pt idx="18">
                  <c:v>1987</c:v>
                </c:pt>
                <c:pt idx="19">
                  <c:v>1988</c:v>
                </c:pt>
                <c:pt idx="20">
                  <c:v>1989</c:v>
                </c:pt>
                <c:pt idx="21">
                  <c:v>1990</c:v>
                </c:pt>
                <c:pt idx="22">
                  <c:v>1991</c:v>
                </c:pt>
                <c:pt idx="23">
                  <c:v>1992</c:v>
                </c:pt>
                <c:pt idx="24">
                  <c:v>1993</c:v>
                </c:pt>
                <c:pt idx="25">
                  <c:v>1994</c:v>
                </c:pt>
                <c:pt idx="26">
                  <c:v>1995</c:v>
                </c:pt>
                <c:pt idx="27">
                  <c:v>1996</c:v>
                </c:pt>
                <c:pt idx="28">
                  <c:v>1997</c:v>
                </c:pt>
                <c:pt idx="29">
                  <c:v>1998</c:v>
                </c:pt>
                <c:pt idx="30">
                  <c:v>1999</c:v>
                </c:pt>
                <c:pt idx="31">
                  <c:v>2000</c:v>
                </c:pt>
                <c:pt idx="32">
                  <c:v>2001</c:v>
                </c:pt>
                <c:pt idx="33">
                  <c:v>2002</c:v>
                </c:pt>
                <c:pt idx="34">
                  <c:v>2003</c:v>
                </c:pt>
                <c:pt idx="35">
                  <c:v>2004</c:v>
                </c:pt>
                <c:pt idx="36">
                  <c:v>2005</c:v>
                </c:pt>
                <c:pt idx="37">
                  <c:v>2006</c:v>
                </c:pt>
                <c:pt idx="38">
                  <c:v>2007</c:v>
                </c:pt>
                <c:pt idx="39">
                  <c:v>2008</c:v>
                </c:pt>
                <c:pt idx="40">
                  <c:v>2009</c:v>
                </c:pt>
                <c:pt idx="41">
                  <c:v>2010</c:v>
                </c:pt>
                <c:pt idx="42">
                  <c:v>2011</c:v>
                </c:pt>
                <c:pt idx="43">
                  <c:v>2012</c:v>
                </c:pt>
                <c:pt idx="44">
                  <c:v>2013</c:v>
                </c:pt>
                <c:pt idx="45">
                  <c:v>2014</c:v>
                </c:pt>
                <c:pt idx="46">
                  <c:v>2015</c:v>
                </c:pt>
                <c:pt idx="47">
                  <c:v>2016</c:v>
                </c:pt>
                <c:pt idx="48">
                  <c:v>2017</c:v>
                </c:pt>
                <c:pt idx="49">
                  <c:v>2018</c:v>
                </c:pt>
                <c:pt idx="50">
                  <c:v>2019</c:v>
                </c:pt>
                <c:pt idx="51">
                  <c:v>2020</c:v>
                </c:pt>
                <c:pt idx="52">
                  <c:v>2021</c:v>
                </c:pt>
                <c:pt idx="53">
                  <c:v>2022</c:v>
                </c:pt>
                <c:pt idx="54">
                  <c:v>2023</c:v>
                </c:pt>
                <c:pt idx="55">
                  <c:v>2024</c:v>
                </c:pt>
                <c:pt idx="56">
                  <c:v>2025</c:v>
                </c:pt>
                <c:pt idx="57">
                  <c:v>2026</c:v>
                </c:pt>
                <c:pt idx="58">
                  <c:v>2027</c:v>
                </c:pt>
                <c:pt idx="59">
                  <c:v>2028</c:v>
                </c:pt>
                <c:pt idx="60">
                  <c:v>2029</c:v>
                </c:pt>
                <c:pt idx="61">
                  <c:v>2030</c:v>
                </c:pt>
                <c:pt idx="62">
                  <c:v>2031</c:v>
                </c:pt>
                <c:pt idx="63">
                  <c:v>2032</c:v>
                </c:pt>
                <c:pt idx="64">
                  <c:v>2033</c:v>
                </c:pt>
                <c:pt idx="65">
                  <c:v>2034</c:v>
                </c:pt>
                <c:pt idx="66">
                  <c:v>2035</c:v>
                </c:pt>
                <c:pt idx="67">
                  <c:v>2036</c:v>
                </c:pt>
                <c:pt idx="68">
                  <c:v>2037</c:v>
                </c:pt>
                <c:pt idx="69">
                  <c:v>2038</c:v>
                </c:pt>
                <c:pt idx="70">
                  <c:v>2039</c:v>
                </c:pt>
                <c:pt idx="71">
                  <c:v>2040</c:v>
                </c:pt>
                <c:pt idx="72">
                  <c:v>2041</c:v>
                </c:pt>
                <c:pt idx="73">
                  <c:v>2042</c:v>
                </c:pt>
                <c:pt idx="74">
                  <c:v>2043</c:v>
                </c:pt>
                <c:pt idx="75">
                  <c:v>2044</c:v>
                </c:pt>
                <c:pt idx="76">
                  <c:v>2045</c:v>
                </c:pt>
              </c:numCache>
            </c:numRef>
          </c:cat>
          <c:val>
            <c:numRef>
              <c:f>Sheet1!$H$2:$H$78</c:f>
              <c:numCache>
                <c:formatCode>General</c:formatCode>
                <c:ptCount val="77"/>
                <c:pt idx="0">
                  <c:v>1941</c:v>
                </c:pt>
                <c:pt idx="1">
                  <c:v>1941</c:v>
                </c:pt>
                <c:pt idx="2">
                  <c:v>1941</c:v>
                </c:pt>
                <c:pt idx="3">
                  <c:v>1941</c:v>
                </c:pt>
                <c:pt idx="4">
                  <c:v>1941</c:v>
                </c:pt>
                <c:pt idx="5">
                  <c:v>1941</c:v>
                </c:pt>
                <c:pt idx="6">
                  <c:v>1941</c:v>
                </c:pt>
                <c:pt idx="7">
                  <c:v>1941</c:v>
                </c:pt>
                <c:pt idx="8">
                  <c:v>1941</c:v>
                </c:pt>
                <c:pt idx="9">
                  <c:v>1941</c:v>
                </c:pt>
                <c:pt idx="10">
                  <c:v>1941</c:v>
                </c:pt>
                <c:pt idx="11">
                  <c:v>1941</c:v>
                </c:pt>
                <c:pt idx="12">
                  <c:v>1941</c:v>
                </c:pt>
                <c:pt idx="13">
                  <c:v>1941</c:v>
                </c:pt>
                <c:pt idx="14">
                  <c:v>1941</c:v>
                </c:pt>
                <c:pt idx="15">
                  <c:v>1941</c:v>
                </c:pt>
                <c:pt idx="16">
                  <c:v>1941</c:v>
                </c:pt>
                <c:pt idx="17">
                  <c:v>1941</c:v>
                </c:pt>
                <c:pt idx="18">
                  <c:v>1941</c:v>
                </c:pt>
                <c:pt idx="19">
                  <c:v>1941</c:v>
                </c:pt>
                <c:pt idx="20">
                  <c:v>2201</c:v>
                </c:pt>
                <c:pt idx="21">
                  <c:v>2336</c:v>
                </c:pt>
                <c:pt idx="22">
                  <c:v>2466</c:v>
                </c:pt>
                <c:pt idx="23">
                  <c:v>2555</c:v>
                </c:pt>
                <c:pt idx="24">
                  <c:v>2696</c:v>
                </c:pt>
                <c:pt idx="25">
                  <c:v>2786</c:v>
                </c:pt>
                <c:pt idx="26">
                  <c:v>2896</c:v>
                </c:pt>
                <c:pt idx="27">
                  <c:v>3036</c:v>
                </c:pt>
                <c:pt idx="28">
                  <c:v>3116</c:v>
                </c:pt>
                <c:pt idx="29">
                  <c:v>3126</c:v>
                </c:pt>
                <c:pt idx="30">
                  <c:v>3031</c:v>
                </c:pt>
                <c:pt idx="31">
                  <c:v>2996</c:v>
                </c:pt>
                <c:pt idx="32">
                  <c:v>2996</c:v>
                </c:pt>
                <c:pt idx="33">
                  <c:v>2976</c:v>
                </c:pt>
                <c:pt idx="34">
                  <c:v>2936</c:v>
                </c:pt>
                <c:pt idx="35">
                  <c:v>3036</c:v>
                </c:pt>
                <c:pt idx="36">
                  <c:v>3256</c:v>
                </c:pt>
                <c:pt idx="37">
                  <c:v>3466</c:v>
                </c:pt>
                <c:pt idx="38">
                  <c:v>3596</c:v>
                </c:pt>
                <c:pt idx="39">
                  <c:v>3706</c:v>
                </c:pt>
                <c:pt idx="40">
                  <c:v>3856</c:v>
                </c:pt>
                <c:pt idx="41">
                  <c:v>3946</c:v>
                </c:pt>
                <c:pt idx="42">
                  <c:v>3976</c:v>
                </c:pt>
                <c:pt idx="43">
                  <c:v>4036</c:v>
                </c:pt>
                <c:pt idx="44">
                  <c:v>4086</c:v>
                </c:pt>
                <c:pt idx="45">
                  <c:v>4126</c:v>
                </c:pt>
                <c:pt idx="46">
                  <c:v>4126</c:v>
                </c:pt>
                <c:pt idx="47">
                  <c:v>4036</c:v>
                </c:pt>
                <c:pt idx="48">
                  <c:v>3956</c:v>
                </c:pt>
                <c:pt idx="49">
                  <c:v>3896</c:v>
                </c:pt>
                <c:pt idx="50">
                  <c:v>3996</c:v>
                </c:pt>
                <c:pt idx="51">
                  <c:v>4046</c:v>
                </c:pt>
                <c:pt idx="52">
                  <c:v>4096</c:v>
                </c:pt>
                <c:pt idx="53">
                  <c:v>4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A5A0-3545-92E9-BD7CD12407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3150224"/>
        <c:axId val="1573150640"/>
      </c:lineChart>
      <c:catAx>
        <c:axId val="1573150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73150640"/>
        <c:crosses val="autoZero"/>
        <c:auto val="1"/>
        <c:lblAlgn val="ctr"/>
        <c:lblOffset val="100"/>
        <c:noMultiLvlLbl val="0"/>
      </c:catAx>
      <c:valAx>
        <c:axId val="1573150640"/>
        <c:scaling>
          <c:orientation val="minMax"/>
          <c:max val="350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73150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 Nova" panose="020B05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aluku Papu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M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M$5:$M$102</c:f>
              <c:numCache>
                <c:formatCode>_(* #,##0_);_(* \(#,##0\);_(* "-"_);_(@_)</c:formatCode>
                <c:ptCount val="98"/>
                <c:pt idx="0">
                  <c:v>98062.774471892859</c:v>
                </c:pt>
                <c:pt idx="1">
                  <c:v>82626.022030175984</c:v>
                </c:pt>
                <c:pt idx="2">
                  <c:v>73726.511825805792</c:v>
                </c:pt>
                <c:pt idx="3">
                  <c:v>74601.206082040328</c:v>
                </c:pt>
                <c:pt idx="4">
                  <c:v>71749.971518623934</c:v>
                </c:pt>
                <c:pt idx="5">
                  <c:v>55939.296501239922</c:v>
                </c:pt>
                <c:pt idx="6">
                  <c:v>50478.639042793569</c:v>
                </c:pt>
                <c:pt idx="7">
                  <c:v>58522.769734979294</c:v>
                </c:pt>
                <c:pt idx="8">
                  <c:v>52162.253804525666</c:v>
                </c:pt>
                <c:pt idx="9">
                  <c:v>49970.080908986965</c:v>
                </c:pt>
                <c:pt idx="10">
                  <c:v>57741.244994111839</c:v>
                </c:pt>
                <c:pt idx="11">
                  <c:v>55138.977436920701</c:v>
                </c:pt>
                <c:pt idx="12">
                  <c:v>54304.316822723726</c:v>
                </c:pt>
                <c:pt idx="13">
                  <c:v>52998.101883843003</c:v>
                </c:pt>
                <c:pt idx="14">
                  <c:v>49776.005306342042</c:v>
                </c:pt>
                <c:pt idx="15">
                  <c:v>55889.949569762408</c:v>
                </c:pt>
                <c:pt idx="16">
                  <c:v>60958.381187275998</c:v>
                </c:pt>
                <c:pt idx="17">
                  <c:v>54087.168683369142</c:v>
                </c:pt>
                <c:pt idx="18">
                  <c:v>57661.28048672351</c:v>
                </c:pt>
                <c:pt idx="19">
                  <c:v>61898.795464737224</c:v>
                </c:pt>
                <c:pt idx="20">
                  <c:v>61527.305534754036</c:v>
                </c:pt>
                <c:pt idx="21">
                  <c:v>63215.205568509351</c:v>
                </c:pt>
                <c:pt idx="22">
                  <c:v>56348.420495675506</c:v>
                </c:pt>
                <c:pt idx="23">
                  <c:v>59859.216495577217</c:v>
                </c:pt>
                <c:pt idx="24">
                  <c:v>63224.936319011947</c:v>
                </c:pt>
                <c:pt idx="25">
                  <c:v>64748.371913042371</c:v>
                </c:pt>
                <c:pt idx="26">
                  <c:v>74215.762628953293</c:v>
                </c:pt>
                <c:pt idx="27">
                  <c:v>63852.466615024794</c:v>
                </c:pt>
                <c:pt idx="28">
                  <c:v>78090.094061626703</c:v>
                </c:pt>
                <c:pt idx="29">
                  <c:v>67907.010507014114</c:v>
                </c:pt>
                <c:pt idx="30">
                  <c:v>61581.669314109939</c:v>
                </c:pt>
                <c:pt idx="31">
                  <c:v>75943.79947315692</c:v>
                </c:pt>
                <c:pt idx="32">
                  <c:v>56615.822256636486</c:v>
                </c:pt>
                <c:pt idx="33">
                  <c:v>82168.895447749717</c:v>
                </c:pt>
                <c:pt idx="34">
                  <c:v>74959.299911063077</c:v>
                </c:pt>
                <c:pt idx="35">
                  <c:v>67456.670082149925</c:v>
                </c:pt>
                <c:pt idx="36">
                  <c:v>89626.262772382906</c:v>
                </c:pt>
                <c:pt idx="37">
                  <c:v>72905.491553510059</c:v>
                </c:pt>
                <c:pt idx="38">
                  <c:v>70312.136704828736</c:v>
                </c:pt>
                <c:pt idx="39">
                  <c:v>77138.98975174324</c:v>
                </c:pt>
                <c:pt idx="40">
                  <c:v>83713.024628309591</c:v>
                </c:pt>
                <c:pt idx="41">
                  <c:v>96055.306577674113</c:v>
                </c:pt>
                <c:pt idx="42">
                  <c:v>88225.11826371905</c:v>
                </c:pt>
                <c:pt idx="43">
                  <c:v>77435.442411200667</c:v>
                </c:pt>
                <c:pt idx="44">
                  <c:v>61057.481838146297</c:v>
                </c:pt>
                <c:pt idx="45">
                  <c:v>65009.446178925806</c:v>
                </c:pt>
                <c:pt idx="46">
                  <c:v>77687.278353505302</c:v>
                </c:pt>
                <c:pt idx="47">
                  <c:v>86133.772226713438</c:v>
                </c:pt>
                <c:pt idx="48">
                  <c:v>80178.009625593244</c:v>
                </c:pt>
                <c:pt idx="49">
                  <c:v>103686.76566047553</c:v>
                </c:pt>
                <c:pt idx="50">
                  <c:v>97074.617192966005</c:v>
                </c:pt>
                <c:pt idx="51">
                  <c:v>72533.21186181248</c:v>
                </c:pt>
                <c:pt idx="52">
                  <c:v>114470.30370655219</c:v>
                </c:pt>
                <c:pt idx="53">
                  <c:v>82502.624163795757</c:v>
                </c:pt>
                <c:pt idx="54">
                  <c:v>73809.620112877747</c:v>
                </c:pt>
                <c:pt idx="55">
                  <c:v>93279.839608784663</c:v>
                </c:pt>
                <c:pt idx="56">
                  <c:v>100518.97675578069</c:v>
                </c:pt>
                <c:pt idx="57">
                  <c:v>95783.731756782348</c:v>
                </c:pt>
                <c:pt idx="58">
                  <c:v>93663.995945713075</c:v>
                </c:pt>
                <c:pt idx="59">
                  <c:v>94668.778151412058</c:v>
                </c:pt>
                <c:pt idx="60">
                  <c:v>84527.505008114793</c:v>
                </c:pt>
                <c:pt idx="61">
                  <c:v>94487.468503079741</c:v>
                </c:pt>
                <c:pt idx="62">
                  <c:v>99683.247961782268</c:v>
                </c:pt>
                <c:pt idx="63">
                  <c:v>77811.088459827806</c:v>
                </c:pt>
                <c:pt idx="64">
                  <c:v>124886.90599727095</c:v>
                </c:pt>
                <c:pt idx="65">
                  <c:v>81427.920741619979</c:v>
                </c:pt>
                <c:pt idx="66">
                  <c:v>109705.63320994416</c:v>
                </c:pt>
                <c:pt idx="67">
                  <c:v>87993.915307653922</c:v>
                </c:pt>
                <c:pt idx="68">
                  <c:v>112532.7692817284</c:v>
                </c:pt>
                <c:pt idx="69">
                  <c:v>126781.20270087723</c:v>
                </c:pt>
                <c:pt idx="70">
                  <c:v>87688.922262138847</c:v>
                </c:pt>
                <c:pt idx="71">
                  <c:v>72828.372629616628</c:v>
                </c:pt>
                <c:pt idx="72">
                  <c:v>200446.45420342544</c:v>
                </c:pt>
                <c:pt idx="73">
                  <c:v>156610.52559651135</c:v>
                </c:pt>
                <c:pt idx="74">
                  <c:v>79766.134630381828</c:v>
                </c:pt>
                <c:pt idx="75">
                  <c:v>89190.796472696544</c:v>
                </c:pt>
                <c:pt idx="76">
                  <c:v>94059.253065163983</c:v>
                </c:pt>
                <c:pt idx="77">
                  <c:v>65836.526922456571</c:v>
                </c:pt>
                <c:pt idx="78">
                  <c:v>135681.10729573181</c:v>
                </c:pt>
                <c:pt idx="79">
                  <c:v>85316.044305184187</c:v>
                </c:pt>
                <c:pt idx="80">
                  <c:v>84373.014176208904</c:v>
                </c:pt>
                <c:pt idx="81">
                  <c:v>201885.73137296591</c:v>
                </c:pt>
                <c:pt idx="82">
                  <c:v>72323.336695357721</c:v>
                </c:pt>
                <c:pt idx="83">
                  <c:v>108346.69393833703</c:v>
                </c:pt>
                <c:pt idx="84">
                  <c:v>134294.71386906214</c:v>
                </c:pt>
                <c:pt idx="85">
                  <c:v>123476.71742418506</c:v>
                </c:pt>
                <c:pt idx="86">
                  <c:v>136513.76886275614</c:v>
                </c:pt>
                <c:pt idx="87">
                  <c:v>100829.41857728352</c:v>
                </c:pt>
                <c:pt idx="88">
                  <c:v>120109.28096456389</c:v>
                </c:pt>
                <c:pt idx="89">
                  <c:v>49899.0235133979</c:v>
                </c:pt>
                <c:pt idx="90">
                  <c:v>0</c:v>
                </c:pt>
                <c:pt idx="91">
                  <c:v>0</c:v>
                </c:pt>
                <c:pt idx="92">
                  <c:v>290129.57490004058</c:v>
                </c:pt>
                <c:pt idx="93">
                  <c:v>189742.35865809832</c:v>
                </c:pt>
                <c:pt idx="94">
                  <c:v>33199.027369287367</c:v>
                </c:pt>
                <c:pt idx="95">
                  <c:v>65977.804976002779</c:v>
                </c:pt>
                <c:pt idx="96">
                  <c:v>39413.270684949406</c:v>
                </c:pt>
                <c:pt idx="97">
                  <c:v>82281.932422823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BA-43D0-BCD2-3BC0592DDD52}"/>
            </c:ext>
          </c:extLst>
        </c:ser>
        <c:ser>
          <c:idx val="1"/>
          <c:order val="1"/>
          <c:tx>
            <c:strRef>
              <c:f>'GRAFIK (2019)'!$N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N$5:$N$102</c:f>
              <c:numCache>
                <c:formatCode>_(* #,##0_);_(* \(#,##0\);_(* "-"_);_(@_)</c:formatCode>
                <c:ptCount val="98"/>
                <c:pt idx="0">
                  <c:v>4.7891095143488895</c:v>
                </c:pt>
                <c:pt idx="1">
                  <c:v>42.561784716676428</c:v>
                </c:pt>
                <c:pt idx="2">
                  <c:v>2984.7948761445441</c:v>
                </c:pt>
                <c:pt idx="3">
                  <c:v>10007.554874522733</c:v>
                </c:pt>
                <c:pt idx="4">
                  <c:v>36182.071195022356</c:v>
                </c:pt>
                <c:pt idx="5">
                  <c:v>103881.30079827193</c:v>
                </c:pt>
                <c:pt idx="6">
                  <c:v>333392.81615370774</c:v>
                </c:pt>
                <c:pt idx="7">
                  <c:v>451060.30103189196</c:v>
                </c:pt>
                <c:pt idx="8">
                  <c:v>486214.63501474762</c:v>
                </c:pt>
                <c:pt idx="9">
                  <c:v>497087.48372731759</c:v>
                </c:pt>
                <c:pt idx="10">
                  <c:v>519325.31441480597</c:v>
                </c:pt>
                <c:pt idx="11">
                  <c:v>517220.64086219121</c:v>
                </c:pt>
                <c:pt idx="12">
                  <c:v>528603.87665671972</c:v>
                </c:pt>
                <c:pt idx="13">
                  <c:v>577199.46616072231</c:v>
                </c:pt>
                <c:pt idx="14">
                  <c:v>631233.29414600239</c:v>
                </c:pt>
                <c:pt idx="15">
                  <c:v>748173.31776253344</c:v>
                </c:pt>
                <c:pt idx="16">
                  <c:v>795167.35759819217</c:v>
                </c:pt>
                <c:pt idx="17">
                  <c:v>799323.89072308922</c:v>
                </c:pt>
                <c:pt idx="18">
                  <c:v>759042.6399682546</c:v>
                </c:pt>
                <c:pt idx="19">
                  <c:v>591239.92545386218</c:v>
                </c:pt>
                <c:pt idx="20">
                  <c:v>586734.38734427642</c:v>
                </c:pt>
                <c:pt idx="21">
                  <c:v>570443.63003776909</c:v>
                </c:pt>
                <c:pt idx="22">
                  <c:v>520636.54758722777</c:v>
                </c:pt>
                <c:pt idx="23">
                  <c:v>499925.13396562543</c:v>
                </c:pt>
                <c:pt idx="24">
                  <c:v>203558.93354571375</c:v>
                </c:pt>
                <c:pt idx="25">
                  <c:v>212901.36906681891</c:v>
                </c:pt>
                <c:pt idx="26">
                  <c:v>96323.05624050909</c:v>
                </c:pt>
                <c:pt idx="27">
                  <c:v>22007.512050444537</c:v>
                </c:pt>
                <c:pt idx="28">
                  <c:v>32911.853270263709</c:v>
                </c:pt>
                <c:pt idx="29">
                  <c:v>9633.3969119263838</c:v>
                </c:pt>
                <c:pt idx="30">
                  <c:v>5524.5077222664877</c:v>
                </c:pt>
                <c:pt idx="31">
                  <c:v>6157.2406517367754</c:v>
                </c:pt>
                <c:pt idx="32">
                  <c:v>4103.6311373261497</c:v>
                </c:pt>
                <c:pt idx="33">
                  <c:v>5885.1566148104957</c:v>
                </c:pt>
                <c:pt idx="34">
                  <c:v>2297.9509548127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BA-43D0-BCD2-3BC0592DDD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mate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C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C$5:$C$102</c:f>
              <c:numCache>
                <c:formatCode>_(* #,##0_);_(* \(#,##0\);_(* "-"_);_(@_)</c:formatCode>
                <c:ptCount val="98"/>
                <c:pt idx="0">
                  <c:v>169448.97219273137</c:v>
                </c:pt>
                <c:pt idx="1">
                  <c:v>149181.14948695566</c:v>
                </c:pt>
                <c:pt idx="2">
                  <c:v>151151.80056036048</c:v>
                </c:pt>
                <c:pt idx="3">
                  <c:v>147118.62640899137</c:v>
                </c:pt>
                <c:pt idx="4">
                  <c:v>143381.90648413764</c:v>
                </c:pt>
                <c:pt idx="5">
                  <c:v>122312.94353429646</c:v>
                </c:pt>
                <c:pt idx="6">
                  <c:v>130463.94113554357</c:v>
                </c:pt>
                <c:pt idx="7">
                  <c:v>125569.46054370888</c:v>
                </c:pt>
                <c:pt idx="8">
                  <c:v>120370.14531114668</c:v>
                </c:pt>
                <c:pt idx="9">
                  <c:v>119035.84615796294</c:v>
                </c:pt>
                <c:pt idx="10">
                  <c:v>130619.73544924786</c:v>
                </c:pt>
                <c:pt idx="11">
                  <c:v>115258.98983425036</c:v>
                </c:pt>
                <c:pt idx="12">
                  <c:v>102724.62686101595</c:v>
                </c:pt>
                <c:pt idx="13">
                  <c:v>99622.471238317783</c:v>
                </c:pt>
                <c:pt idx="14">
                  <c:v>97093.170647878083</c:v>
                </c:pt>
                <c:pt idx="15">
                  <c:v>104483.01883056524</c:v>
                </c:pt>
                <c:pt idx="16">
                  <c:v>106762.8690911408</c:v>
                </c:pt>
                <c:pt idx="17">
                  <c:v>103550.89207670761</c:v>
                </c:pt>
                <c:pt idx="18">
                  <c:v>98737.841054079763</c:v>
                </c:pt>
                <c:pt idx="19">
                  <c:v>88730.42647651161</c:v>
                </c:pt>
                <c:pt idx="20">
                  <c:v>81227.892964420098</c:v>
                </c:pt>
                <c:pt idx="21">
                  <c:v>89179.558982693474</c:v>
                </c:pt>
                <c:pt idx="22">
                  <c:v>94968.850687329686</c:v>
                </c:pt>
                <c:pt idx="23">
                  <c:v>89901.820047443805</c:v>
                </c:pt>
                <c:pt idx="24">
                  <c:v>88980.208549041985</c:v>
                </c:pt>
                <c:pt idx="25">
                  <c:v>123026.45766723678</c:v>
                </c:pt>
                <c:pt idx="26">
                  <c:v>134046.83099256604</c:v>
                </c:pt>
                <c:pt idx="27">
                  <c:v>131642.29256114567</c:v>
                </c:pt>
                <c:pt idx="28">
                  <c:v>143617.61400214519</c:v>
                </c:pt>
                <c:pt idx="29">
                  <c:v>143102.07313740131</c:v>
                </c:pt>
                <c:pt idx="30">
                  <c:v>175045.47609261947</c:v>
                </c:pt>
                <c:pt idx="31">
                  <c:v>154694.90819143684</c:v>
                </c:pt>
                <c:pt idx="32">
                  <c:v>151378.67701314864</c:v>
                </c:pt>
                <c:pt idx="33">
                  <c:v>161901.01051490929</c:v>
                </c:pt>
                <c:pt idx="34">
                  <c:v>165839.28599673748</c:v>
                </c:pt>
                <c:pt idx="35">
                  <c:v>169792.36388214474</c:v>
                </c:pt>
                <c:pt idx="36">
                  <c:v>168081.64821042816</c:v>
                </c:pt>
                <c:pt idx="37">
                  <c:v>190416.70412735897</c:v>
                </c:pt>
                <c:pt idx="38">
                  <c:v>168003.50597955068</c:v>
                </c:pt>
                <c:pt idx="39">
                  <c:v>183942.71879714515</c:v>
                </c:pt>
                <c:pt idx="40">
                  <c:v>173218.65275240416</c:v>
                </c:pt>
                <c:pt idx="41">
                  <c:v>177190.74602829153</c:v>
                </c:pt>
                <c:pt idx="42">
                  <c:v>177510.94601649971</c:v>
                </c:pt>
                <c:pt idx="43">
                  <c:v>172829.43095871943</c:v>
                </c:pt>
                <c:pt idx="44">
                  <c:v>196003.20478704569</c:v>
                </c:pt>
                <c:pt idx="45">
                  <c:v>216722.53632434361</c:v>
                </c:pt>
                <c:pt idx="46">
                  <c:v>223577.09007694654</c:v>
                </c:pt>
                <c:pt idx="47">
                  <c:v>204692.29988472961</c:v>
                </c:pt>
                <c:pt idx="48">
                  <c:v>208726.9930596491</c:v>
                </c:pt>
                <c:pt idx="49">
                  <c:v>224867.74911738647</c:v>
                </c:pt>
                <c:pt idx="50">
                  <c:v>146474.13035382447</c:v>
                </c:pt>
                <c:pt idx="51">
                  <c:v>172342.47201608503</c:v>
                </c:pt>
                <c:pt idx="52">
                  <c:v>154826.91484274817</c:v>
                </c:pt>
                <c:pt idx="53">
                  <c:v>190596.33557758734</c:v>
                </c:pt>
                <c:pt idx="54">
                  <c:v>159513.09291180031</c:v>
                </c:pt>
                <c:pt idx="55">
                  <c:v>193260.87921657538</c:v>
                </c:pt>
                <c:pt idx="56">
                  <c:v>205324.43258703672</c:v>
                </c:pt>
                <c:pt idx="57">
                  <c:v>210458.36960489905</c:v>
                </c:pt>
                <c:pt idx="58">
                  <c:v>230313.99639478695</c:v>
                </c:pt>
                <c:pt idx="59">
                  <c:v>226715.0563729828</c:v>
                </c:pt>
                <c:pt idx="60">
                  <c:v>210697.93740581634</c:v>
                </c:pt>
                <c:pt idx="61">
                  <c:v>226530.2369363716</c:v>
                </c:pt>
                <c:pt idx="62">
                  <c:v>206954.08393618374</c:v>
                </c:pt>
                <c:pt idx="63">
                  <c:v>215379.44067377155</c:v>
                </c:pt>
                <c:pt idx="64">
                  <c:v>210627.23368921681</c:v>
                </c:pt>
                <c:pt idx="65">
                  <c:v>245362.18745150484</c:v>
                </c:pt>
                <c:pt idx="66">
                  <c:v>250257.18061247389</c:v>
                </c:pt>
                <c:pt idx="67">
                  <c:v>206059.18712044138</c:v>
                </c:pt>
                <c:pt idx="68">
                  <c:v>258835.86069403862</c:v>
                </c:pt>
                <c:pt idx="69">
                  <c:v>220712.27635701338</c:v>
                </c:pt>
                <c:pt idx="70">
                  <c:v>164345.62813212367</c:v>
                </c:pt>
                <c:pt idx="71">
                  <c:v>222068.968861017</c:v>
                </c:pt>
                <c:pt idx="72">
                  <c:v>163003.71544116904</c:v>
                </c:pt>
                <c:pt idx="73">
                  <c:v>179777.83325531438</c:v>
                </c:pt>
                <c:pt idx="74">
                  <c:v>144575.93291309112</c:v>
                </c:pt>
                <c:pt idx="75">
                  <c:v>170907.9313661186</c:v>
                </c:pt>
                <c:pt idx="76">
                  <c:v>185927.49457306869</c:v>
                </c:pt>
                <c:pt idx="77">
                  <c:v>142515.69511372445</c:v>
                </c:pt>
                <c:pt idx="78">
                  <c:v>143822.54427417883</c:v>
                </c:pt>
                <c:pt idx="79">
                  <c:v>175073.27061974755</c:v>
                </c:pt>
                <c:pt idx="80">
                  <c:v>256960.68001590023</c:v>
                </c:pt>
                <c:pt idx="81">
                  <c:v>187613.69022461656</c:v>
                </c:pt>
                <c:pt idx="82">
                  <c:v>168263.99626142348</c:v>
                </c:pt>
                <c:pt idx="83">
                  <c:v>140091.62488516755</c:v>
                </c:pt>
                <c:pt idx="84">
                  <c:v>135595.99583330905</c:v>
                </c:pt>
                <c:pt idx="85">
                  <c:v>122265.67688120744</c:v>
                </c:pt>
                <c:pt idx="86">
                  <c:v>115998.81961936157</c:v>
                </c:pt>
                <c:pt idx="87">
                  <c:v>149499.64531438667</c:v>
                </c:pt>
                <c:pt idx="88">
                  <c:v>94511.03807440844</c:v>
                </c:pt>
                <c:pt idx="89">
                  <c:v>182134.08198765264</c:v>
                </c:pt>
                <c:pt idx="90">
                  <c:v>83965.528423069947</c:v>
                </c:pt>
                <c:pt idx="91">
                  <c:v>166717.60945845122</c:v>
                </c:pt>
                <c:pt idx="92">
                  <c:v>119439.70402115337</c:v>
                </c:pt>
                <c:pt idx="93">
                  <c:v>61064.562877328834</c:v>
                </c:pt>
                <c:pt idx="94">
                  <c:v>75675.449436547613</c:v>
                </c:pt>
                <c:pt idx="95">
                  <c:v>32302.206789589924</c:v>
                </c:pt>
                <c:pt idx="96">
                  <c:v>0</c:v>
                </c:pt>
                <c:pt idx="97">
                  <c:v>48003.50431641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7B-4CB1-92CB-A498F6E06C64}"/>
            </c:ext>
          </c:extLst>
        </c:ser>
        <c:ser>
          <c:idx val="1"/>
          <c:order val="1"/>
          <c:tx>
            <c:strRef>
              <c:f>'GRAFIK (2022)'!$D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D$5:$D$102</c:f>
              <c:numCache>
                <c:formatCode>_(* #,##0_);_(* \(#,##0\);_(* "-"_);_(@_)</c:formatCode>
                <c:ptCount val="98"/>
                <c:pt idx="0">
                  <c:v>240.18117439314375</c:v>
                </c:pt>
                <c:pt idx="1">
                  <c:v>1010.8825387571505</c:v>
                </c:pt>
                <c:pt idx="2">
                  <c:v>5203.4582799353202</c:v>
                </c:pt>
                <c:pt idx="3">
                  <c:v>8255.7140778152789</c:v>
                </c:pt>
                <c:pt idx="4">
                  <c:v>41677.359833825612</c:v>
                </c:pt>
                <c:pt idx="5">
                  <c:v>159300.87283528675</c:v>
                </c:pt>
                <c:pt idx="6">
                  <c:v>442670.06957975816</c:v>
                </c:pt>
                <c:pt idx="7">
                  <c:v>660616.87422516593</c:v>
                </c:pt>
                <c:pt idx="8">
                  <c:v>652619.53072215337</c:v>
                </c:pt>
                <c:pt idx="9">
                  <c:v>676573.16284473869</c:v>
                </c:pt>
                <c:pt idx="10">
                  <c:v>706925.5171933932</c:v>
                </c:pt>
                <c:pt idx="11">
                  <c:v>699836.34581707022</c:v>
                </c:pt>
                <c:pt idx="12">
                  <c:v>736841.5537991405</c:v>
                </c:pt>
                <c:pt idx="13">
                  <c:v>774050.30952140584</c:v>
                </c:pt>
                <c:pt idx="14">
                  <c:v>780213.64783868985</c:v>
                </c:pt>
                <c:pt idx="15">
                  <c:v>987032.1714381777</c:v>
                </c:pt>
                <c:pt idx="16">
                  <c:v>1060592.3010651555</c:v>
                </c:pt>
                <c:pt idx="17">
                  <c:v>983502.70250216674</c:v>
                </c:pt>
                <c:pt idx="18">
                  <c:v>886386.29447641596</c:v>
                </c:pt>
                <c:pt idx="19">
                  <c:v>659685.80142117024</c:v>
                </c:pt>
                <c:pt idx="20">
                  <c:v>687989.7129878304</c:v>
                </c:pt>
                <c:pt idx="21">
                  <c:v>683483.632056267</c:v>
                </c:pt>
                <c:pt idx="22">
                  <c:v>494322.17026417784</c:v>
                </c:pt>
                <c:pt idx="23">
                  <c:v>390878.65487735462</c:v>
                </c:pt>
                <c:pt idx="24">
                  <c:v>241417.41296588891</c:v>
                </c:pt>
                <c:pt idx="25">
                  <c:v>204076.12240169192</c:v>
                </c:pt>
                <c:pt idx="26">
                  <c:v>86202.386731230523</c:v>
                </c:pt>
                <c:pt idx="27">
                  <c:v>15804.844975934015</c:v>
                </c:pt>
                <c:pt idx="28">
                  <c:v>5045.3182689332143</c:v>
                </c:pt>
                <c:pt idx="29">
                  <c:v>4436.4303728258346</c:v>
                </c:pt>
                <c:pt idx="30">
                  <c:v>5385.8288146436898</c:v>
                </c:pt>
                <c:pt idx="31">
                  <c:v>13373.273341460217</c:v>
                </c:pt>
                <c:pt idx="32">
                  <c:v>5474.9927549840522</c:v>
                </c:pt>
                <c:pt idx="33">
                  <c:v>4765.7045021707136</c:v>
                </c:pt>
                <c:pt idx="34">
                  <c:v>6311.5728972749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7B-4CB1-92CB-A498F6E06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awa</a:t>
            </a:r>
            <a:r>
              <a:rPr lang="en-US" baseline="0"/>
              <a:t> Bali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E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E$5:$E$102</c:f>
              <c:numCache>
                <c:formatCode>_(* #,##0_);_(* \(#,##0\);_(* "-"_);_(@_)</c:formatCode>
                <c:ptCount val="98"/>
                <c:pt idx="0">
                  <c:v>220723.39543336074</c:v>
                </c:pt>
                <c:pt idx="1">
                  <c:v>183951.1341002307</c:v>
                </c:pt>
                <c:pt idx="2">
                  <c:v>171402.97405588135</c:v>
                </c:pt>
                <c:pt idx="3">
                  <c:v>174391.61870061801</c:v>
                </c:pt>
                <c:pt idx="4">
                  <c:v>166311.27369381237</c:v>
                </c:pt>
                <c:pt idx="5">
                  <c:v>131132.70914629259</c:v>
                </c:pt>
                <c:pt idx="6">
                  <c:v>127006.38626180573</c:v>
                </c:pt>
                <c:pt idx="7">
                  <c:v>116749.82895197326</c:v>
                </c:pt>
                <c:pt idx="8">
                  <c:v>118993.17761153119</c:v>
                </c:pt>
                <c:pt idx="9">
                  <c:v>111463.45014132111</c:v>
                </c:pt>
                <c:pt idx="10">
                  <c:v>119340.3034255958</c:v>
                </c:pt>
                <c:pt idx="11">
                  <c:v>105987.01614366652</c:v>
                </c:pt>
                <c:pt idx="12">
                  <c:v>111317.24935914215</c:v>
                </c:pt>
                <c:pt idx="13">
                  <c:v>95016.203194223534</c:v>
                </c:pt>
                <c:pt idx="14">
                  <c:v>99746.362359177831</c:v>
                </c:pt>
                <c:pt idx="15">
                  <c:v>123323.94476470308</c:v>
                </c:pt>
                <c:pt idx="16">
                  <c:v>112273.45010942459</c:v>
                </c:pt>
                <c:pt idx="17">
                  <c:v>119428.40321249468</c:v>
                </c:pt>
                <c:pt idx="18">
                  <c:v>105823.36355661337</c:v>
                </c:pt>
                <c:pt idx="19">
                  <c:v>112732.90115926568</c:v>
                </c:pt>
                <c:pt idx="20">
                  <c:v>123788.93474149836</c:v>
                </c:pt>
                <c:pt idx="21">
                  <c:v>138836.14282670495</c:v>
                </c:pt>
                <c:pt idx="22">
                  <c:v>131193.46008369594</c:v>
                </c:pt>
                <c:pt idx="23">
                  <c:v>116374.17707696339</c:v>
                </c:pt>
                <c:pt idx="24">
                  <c:v>121827.94341591091</c:v>
                </c:pt>
                <c:pt idx="25">
                  <c:v>163956.05725645751</c:v>
                </c:pt>
                <c:pt idx="26">
                  <c:v>168563.49384280192</c:v>
                </c:pt>
                <c:pt idx="27">
                  <c:v>162636.02533945724</c:v>
                </c:pt>
                <c:pt idx="28">
                  <c:v>173451.2420717607</c:v>
                </c:pt>
                <c:pt idx="29">
                  <c:v>145456.48381040373</c:v>
                </c:pt>
                <c:pt idx="30">
                  <c:v>174327.25246682271</c:v>
                </c:pt>
                <c:pt idx="31">
                  <c:v>170232.16461961559</c:v>
                </c:pt>
                <c:pt idx="32">
                  <c:v>201067.40906633495</c:v>
                </c:pt>
                <c:pt idx="33">
                  <c:v>150982.76397357348</c:v>
                </c:pt>
                <c:pt idx="34">
                  <c:v>187057.42446152013</c:v>
                </c:pt>
                <c:pt idx="35">
                  <c:v>198560.68943122271</c:v>
                </c:pt>
                <c:pt idx="36">
                  <c:v>203825.35095852159</c:v>
                </c:pt>
                <c:pt idx="37">
                  <c:v>176311.86410559117</c:v>
                </c:pt>
                <c:pt idx="38">
                  <c:v>202598.04251574972</c:v>
                </c:pt>
                <c:pt idx="39">
                  <c:v>207130.29487505736</c:v>
                </c:pt>
                <c:pt idx="40">
                  <c:v>202213.17388413224</c:v>
                </c:pt>
                <c:pt idx="41">
                  <c:v>187626.58030514244</c:v>
                </c:pt>
                <c:pt idx="42">
                  <c:v>177861.00667881031</c:v>
                </c:pt>
                <c:pt idx="43">
                  <c:v>191887.23522655136</c:v>
                </c:pt>
                <c:pt idx="44">
                  <c:v>196528.34050076679</c:v>
                </c:pt>
                <c:pt idx="45">
                  <c:v>212003.72656427312</c:v>
                </c:pt>
                <c:pt idx="46">
                  <c:v>227535.03896813252</c:v>
                </c:pt>
                <c:pt idx="47">
                  <c:v>216673.60238529631</c:v>
                </c:pt>
                <c:pt idx="48">
                  <c:v>276390.65726399753</c:v>
                </c:pt>
                <c:pt idx="49">
                  <c:v>259741.04703781079</c:v>
                </c:pt>
                <c:pt idx="50">
                  <c:v>193290.96970727359</c:v>
                </c:pt>
                <c:pt idx="51">
                  <c:v>196338.12288618309</c:v>
                </c:pt>
                <c:pt idx="52">
                  <c:v>220038.24079536393</c:v>
                </c:pt>
                <c:pt idx="53">
                  <c:v>211838.68008172128</c:v>
                </c:pt>
                <c:pt idx="54">
                  <c:v>230373.30131928646</c:v>
                </c:pt>
                <c:pt idx="55">
                  <c:v>218274.57673569076</c:v>
                </c:pt>
                <c:pt idx="56">
                  <c:v>246431.98787577901</c:v>
                </c:pt>
                <c:pt idx="57">
                  <c:v>248091.22694776356</c:v>
                </c:pt>
                <c:pt idx="58">
                  <c:v>266634.17909912439</c:v>
                </c:pt>
                <c:pt idx="59">
                  <c:v>263053.85895790736</c:v>
                </c:pt>
                <c:pt idx="60">
                  <c:v>238521.68993328579</c:v>
                </c:pt>
                <c:pt idx="61">
                  <c:v>234251.20610464155</c:v>
                </c:pt>
                <c:pt idx="62">
                  <c:v>240394.00452216947</c:v>
                </c:pt>
                <c:pt idx="63">
                  <c:v>273340.9484925404</c:v>
                </c:pt>
                <c:pt idx="64">
                  <c:v>262609.2302913359</c:v>
                </c:pt>
                <c:pt idx="65">
                  <c:v>261321.02637484061</c:v>
                </c:pt>
                <c:pt idx="66">
                  <c:v>263141.0558369144</c:v>
                </c:pt>
                <c:pt idx="67">
                  <c:v>362238.00448816159</c:v>
                </c:pt>
                <c:pt idx="68">
                  <c:v>264872.95208389842</c:v>
                </c:pt>
                <c:pt idx="69">
                  <c:v>299812.9108742465</c:v>
                </c:pt>
                <c:pt idx="70">
                  <c:v>221914.75837229157</c:v>
                </c:pt>
                <c:pt idx="71">
                  <c:v>183988.58448399598</c:v>
                </c:pt>
                <c:pt idx="72">
                  <c:v>210348.26953617993</c:v>
                </c:pt>
                <c:pt idx="73">
                  <c:v>211250.1081166761</c:v>
                </c:pt>
                <c:pt idx="74">
                  <c:v>181251.0893599455</c:v>
                </c:pt>
                <c:pt idx="75">
                  <c:v>229440.45206708697</c:v>
                </c:pt>
                <c:pt idx="76">
                  <c:v>179515.89091204226</c:v>
                </c:pt>
                <c:pt idx="77">
                  <c:v>170817.79975542007</c:v>
                </c:pt>
                <c:pt idx="78">
                  <c:v>152975.15452970864</c:v>
                </c:pt>
                <c:pt idx="79">
                  <c:v>175003.87025239455</c:v>
                </c:pt>
                <c:pt idx="80">
                  <c:v>286242.49214138289</c:v>
                </c:pt>
                <c:pt idx="81">
                  <c:v>178587.2386524918</c:v>
                </c:pt>
                <c:pt idx="82">
                  <c:v>197157.29462497807</c:v>
                </c:pt>
                <c:pt idx="83">
                  <c:v>208526.97586821695</c:v>
                </c:pt>
                <c:pt idx="84">
                  <c:v>252841.55206683616</c:v>
                </c:pt>
                <c:pt idx="85">
                  <c:v>153331.774033458</c:v>
                </c:pt>
                <c:pt idx="86">
                  <c:v>156189.4074599531</c:v>
                </c:pt>
                <c:pt idx="87">
                  <c:v>140259.48350785446</c:v>
                </c:pt>
                <c:pt idx="88">
                  <c:v>147863.79967141381</c:v>
                </c:pt>
                <c:pt idx="89">
                  <c:v>89652.425566267659</c:v>
                </c:pt>
                <c:pt idx="90">
                  <c:v>101569.23752146823</c:v>
                </c:pt>
                <c:pt idx="91">
                  <c:v>92533.067532587229</c:v>
                </c:pt>
                <c:pt idx="92">
                  <c:v>89843.43717893296</c:v>
                </c:pt>
                <c:pt idx="93">
                  <c:v>55362.991612664038</c:v>
                </c:pt>
                <c:pt idx="94">
                  <c:v>51372.798360682347</c:v>
                </c:pt>
                <c:pt idx="95">
                  <c:v>67194.425937805121</c:v>
                </c:pt>
                <c:pt idx="96">
                  <c:v>28200.952722024696</c:v>
                </c:pt>
                <c:pt idx="97">
                  <c:v>54165.174184982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42-450B-9CD6-00ACECF515D0}"/>
            </c:ext>
          </c:extLst>
        </c:ser>
        <c:ser>
          <c:idx val="1"/>
          <c:order val="1"/>
          <c:tx>
            <c:strRef>
              <c:f>'GRAFIK (2022)'!$F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F$5:$F$102</c:f>
              <c:numCache>
                <c:formatCode>_(* #,##0_);_(* \(#,##0\);_(* "-"_);_(@_)</c:formatCode>
                <c:ptCount val="98"/>
                <c:pt idx="0">
                  <c:v>291.8771632110325</c:v>
                </c:pt>
                <c:pt idx="1">
                  <c:v>476.85920336267469</c:v>
                </c:pt>
                <c:pt idx="2">
                  <c:v>5111.6516191866413</c:v>
                </c:pt>
                <c:pt idx="3">
                  <c:v>34151.21987456936</c:v>
                </c:pt>
                <c:pt idx="4">
                  <c:v>108377.70361908223</c:v>
                </c:pt>
                <c:pt idx="5">
                  <c:v>290602.2394644607</c:v>
                </c:pt>
                <c:pt idx="6">
                  <c:v>502506.39969364885</c:v>
                </c:pt>
                <c:pt idx="7">
                  <c:v>794631.2999904746</c:v>
                </c:pt>
                <c:pt idx="8">
                  <c:v>804606.18068836839</c:v>
                </c:pt>
                <c:pt idx="9">
                  <c:v>808103.88020696829</c:v>
                </c:pt>
                <c:pt idx="10">
                  <c:v>837634.16456106561</c:v>
                </c:pt>
                <c:pt idx="11">
                  <c:v>847052.07390291931</c:v>
                </c:pt>
                <c:pt idx="12">
                  <c:v>880414.45439588185</c:v>
                </c:pt>
                <c:pt idx="13">
                  <c:v>1044984.5298814115</c:v>
                </c:pt>
                <c:pt idx="14">
                  <c:v>987249.68123904371</c:v>
                </c:pt>
                <c:pt idx="15">
                  <c:v>1237690.780838894</c:v>
                </c:pt>
                <c:pt idx="16">
                  <c:v>1279159.5533602091</c:v>
                </c:pt>
                <c:pt idx="17">
                  <c:v>1162511.5814086893</c:v>
                </c:pt>
                <c:pt idx="18">
                  <c:v>1148020.5023000892</c:v>
                </c:pt>
                <c:pt idx="19">
                  <c:v>1062958.4537732359</c:v>
                </c:pt>
                <c:pt idx="20">
                  <c:v>1009911.4906898257</c:v>
                </c:pt>
                <c:pt idx="21">
                  <c:v>1041141.9422389907</c:v>
                </c:pt>
                <c:pt idx="22">
                  <c:v>751923.64806081553</c:v>
                </c:pt>
                <c:pt idx="23">
                  <c:v>471277.12434185127</c:v>
                </c:pt>
                <c:pt idx="24">
                  <c:v>398586.14481306408</c:v>
                </c:pt>
                <c:pt idx="25">
                  <c:v>195965.14084079684</c:v>
                </c:pt>
                <c:pt idx="26">
                  <c:v>67896.951573048224</c:v>
                </c:pt>
                <c:pt idx="27">
                  <c:v>24505.323535593801</c:v>
                </c:pt>
                <c:pt idx="28">
                  <c:v>46391.78353541957</c:v>
                </c:pt>
                <c:pt idx="29">
                  <c:v>11054.002719405009</c:v>
                </c:pt>
                <c:pt idx="30">
                  <c:v>25988.667988350357</c:v>
                </c:pt>
                <c:pt idx="31">
                  <c:v>3203.2260474081791</c:v>
                </c:pt>
                <c:pt idx="32">
                  <c:v>12388.752200362154</c:v>
                </c:pt>
                <c:pt idx="33">
                  <c:v>4926.1803892638491</c:v>
                </c:pt>
                <c:pt idx="34">
                  <c:v>3824.9523983454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42-450B-9CD6-00ACECF515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sa</a:t>
            </a:r>
            <a:r>
              <a:rPr lang="en-US" baseline="0"/>
              <a:t>Tenggar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G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G$5:$G$102</c:f>
              <c:numCache>
                <c:formatCode>_(* #,##0_);_(* \(#,##0\);_(* "-"_);_(@_)</c:formatCode>
                <c:ptCount val="98"/>
                <c:pt idx="0">
                  <c:v>128426.66175469672</c:v>
                </c:pt>
                <c:pt idx="1">
                  <c:v>152404.65505568986</c:v>
                </c:pt>
                <c:pt idx="2">
                  <c:v>128510.71378851584</c:v>
                </c:pt>
                <c:pt idx="3">
                  <c:v>130959.53157906496</c:v>
                </c:pt>
                <c:pt idx="4">
                  <c:v>122621.64420211196</c:v>
                </c:pt>
                <c:pt idx="5">
                  <c:v>92587.101089264208</c:v>
                </c:pt>
                <c:pt idx="6">
                  <c:v>95876.882527790061</c:v>
                </c:pt>
                <c:pt idx="7">
                  <c:v>88059.834902158385</c:v>
                </c:pt>
                <c:pt idx="8">
                  <c:v>93141.526457502419</c:v>
                </c:pt>
                <c:pt idx="9">
                  <c:v>98752.019152424153</c:v>
                </c:pt>
                <c:pt idx="10">
                  <c:v>84368.682432561967</c:v>
                </c:pt>
                <c:pt idx="11">
                  <c:v>85459.450516900702</c:v>
                </c:pt>
                <c:pt idx="12">
                  <c:v>93919.84482733265</c:v>
                </c:pt>
                <c:pt idx="13">
                  <c:v>71413.959699179148</c:v>
                </c:pt>
                <c:pt idx="14">
                  <c:v>85258.68517578888</c:v>
                </c:pt>
                <c:pt idx="15">
                  <c:v>89105.067823855454</c:v>
                </c:pt>
                <c:pt idx="16">
                  <c:v>79318.342978385088</c:v>
                </c:pt>
                <c:pt idx="17">
                  <c:v>84095.590394981322</c:v>
                </c:pt>
                <c:pt idx="18">
                  <c:v>88593.534896039462</c:v>
                </c:pt>
                <c:pt idx="19">
                  <c:v>73520.9441745363</c:v>
                </c:pt>
                <c:pt idx="20">
                  <c:v>93529.595560158195</c:v>
                </c:pt>
                <c:pt idx="21">
                  <c:v>105392.42444755911</c:v>
                </c:pt>
                <c:pt idx="22">
                  <c:v>87932.000506129538</c:v>
                </c:pt>
                <c:pt idx="23">
                  <c:v>96166.580826125501</c:v>
                </c:pt>
                <c:pt idx="24">
                  <c:v>109529.061464956</c:v>
                </c:pt>
                <c:pt idx="25">
                  <c:v>133552.75527983025</c:v>
                </c:pt>
                <c:pt idx="26">
                  <c:v>104359.20217574341</c:v>
                </c:pt>
                <c:pt idx="27">
                  <c:v>137783.79533953749</c:v>
                </c:pt>
                <c:pt idx="28">
                  <c:v>107922.0569196522</c:v>
                </c:pt>
                <c:pt idx="29">
                  <c:v>114936.95845055694</c:v>
                </c:pt>
                <c:pt idx="30">
                  <c:v>118937.81046695853</c:v>
                </c:pt>
                <c:pt idx="31">
                  <c:v>129461.89739465501</c:v>
                </c:pt>
                <c:pt idx="32">
                  <c:v>130636.42941360112</c:v>
                </c:pt>
                <c:pt idx="33">
                  <c:v>145299.34490043516</c:v>
                </c:pt>
                <c:pt idx="34">
                  <c:v>129520.84510385501</c:v>
                </c:pt>
                <c:pt idx="35">
                  <c:v>140243.19683371938</c:v>
                </c:pt>
                <c:pt idx="36">
                  <c:v>137734.9175972222</c:v>
                </c:pt>
                <c:pt idx="37">
                  <c:v>141696.52288573654</c:v>
                </c:pt>
                <c:pt idx="38">
                  <c:v>149089.44905542032</c:v>
                </c:pt>
                <c:pt idx="39">
                  <c:v>137092.46616946792</c:v>
                </c:pt>
                <c:pt idx="40">
                  <c:v>161935.11498980818</c:v>
                </c:pt>
                <c:pt idx="41">
                  <c:v>155950.56979322067</c:v>
                </c:pt>
                <c:pt idx="42">
                  <c:v>145725.90660444001</c:v>
                </c:pt>
                <c:pt idx="43">
                  <c:v>127990.83931844019</c:v>
                </c:pt>
                <c:pt idx="44">
                  <c:v>147959.39185107499</c:v>
                </c:pt>
                <c:pt idx="45">
                  <c:v>167510.57691345541</c:v>
                </c:pt>
                <c:pt idx="46">
                  <c:v>160330.84830975215</c:v>
                </c:pt>
                <c:pt idx="47">
                  <c:v>144858.49369413362</c:v>
                </c:pt>
                <c:pt idx="48">
                  <c:v>153087.79236922273</c:v>
                </c:pt>
                <c:pt idx="49">
                  <c:v>212866.94001835206</c:v>
                </c:pt>
                <c:pt idx="50">
                  <c:v>128199.80997468159</c:v>
                </c:pt>
                <c:pt idx="51">
                  <c:v>160700.88975221553</c:v>
                </c:pt>
                <c:pt idx="52">
                  <c:v>144732.89652896364</c:v>
                </c:pt>
                <c:pt idx="53">
                  <c:v>170379.78194487479</c:v>
                </c:pt>
                <c:pt idx="54">
                  <c:v>149216.96678214369</c:v>
                </c:pt>
                <c:pt idx="55">
                  <c:v>133968.14263108125</c:v>
                </c:pt>
                <c:pt idx="56">
                  <c:v>135690.62968922307</c:v>
                </c:pt>
                <c:pt idx="57">
                  <c:v>142014.93204946793</c:v>
                </c:pt>
                <c:pt idx="58">
                  <c:v>160403.85871898098</c:v>
                </c:pt>
                <c:pt idx="59">
                  <c:v>178625.29183855618</c:v>
                </c:pt>
                <c:pt idx="60">
                  <c:v>146730.42475732398</c:v>
                </c:pt>
                <c:pt idx="61">
                  <c:v>154689.29039486113</c:v>
                </c:pt>
                <c:pt idx="62">
                  <c:v>153230.75804263412</c:v>
                </c:pt>
                <c:pt idx="63">
                  <c:v>152390.20831311273</c:v>
                </c:pt>
                <c:pt idx="64">
                  <c:v>138507.42241540513</c:v>
                </c:pt>
                <c:pt idx="65">
                  <c:v>138338.58203737327</c:v>
                </c:pt>
                <c:pt idx="66">
                  <c:v>477457.12934859528</c:v>
                </c:pt>
                <c:pt idx="67">
                  <c:v>145791.04084931698</c:v>
                </c:pt>
                <c:pt idx="68">
                  <c:v>154015.66534847452</c:v>
                </c:pt>
                <c:pt idx="69">
                  <c:v>258616.58858712902</c:v>
                </c:pt>
                <c:pt idx="70">
                  <c:v>83407.268726598501</c:v>
                </c:pt>
                <c:pt idx="71">
                  <c:v>112671.7749858235</c:v>
                </c:pt>
                <c:pt idx="72">
                  <c:v>89496.168777454528</c:v>
                </c:pt>
                <c:pt idx="73">
                  <c:v>101526.42363220235</c:v>
                </c:pt>
                <c:pt idx="74">
                  <c:v>81385.055212990032</c:v>
                </c:pt>
                <c:pt idx="75">
                  <c:v>112630.32668830275</c:v>
                </c:pt>
                <c:pt idx="76">
                  <c:v>445922.38940497051</c:v>
                </c:pt>
                <c:pt idx="77">
                  <c:v>57054.64168239585</c:v>
                </c:pt>
                <c:pt idx="78">
                  <c:v>126655.42242841121</c:v>
                </c:pt>
                <c:pt idx="79">
                  <c:v>121379.25865893949</c:v>
                </c:pt>
                <c:pt idx="80">
                  <c:v>45888.85586186561</c:v>
                </c:pt>
                <c:pt idx="81">
                  <c:v>54567.715530018846</c:v>
                </c:pt>
                <c:pt idx="82">
                  <c:v>85072.59002942247</c:v>
                </c:pt>
                <c:pt idx="83">
                  <c:v>95805.084050089063</c:v>
                </c:pt>
                <c:pt idx="84">
                  <c:v>86791.560833735071</c:v>
                </c:pt>
                <c:pt idx="85">
                  <c:v>337341.25236228225</c:v>
                </c:pt>
                <c:pt idx="86">
                  <c:v>26926.020623233526</c:v>
                </c:pt>
                <c:pt idx="87">
                  <c:v>23402.964606054949</c:v>
                </c:pt>
                <c:pt idx="88">
                  <c:v>44052.424549203039</c:v>
                </c:pt>
                <c:pt idx="89">
                  <c:v>13605.472766749248</c:v>
                </c:pt>
                <c:pt idx="90">
                  <c:v>15658.54785348027</c:v>
                </c:pt>
                <c:pt idx="91">
                  <c:v>43025.932886354785</c:v>
                </c:pt>
                <c:pt idx="92">
                  <c:v>16031.167725078878</c:v>
                </c:pt>
                <c:pt idx="93">
                  <c:v>13383.384704219563</c:v>
                </c:pt>
                <c:pt idx="94">
                  <c:v>23158.022990966976</c:v>
                </c:pt>
                <c:pt idx="95">
                  <c:v>32450.406855042726</c:v>
                </c:pt>
                <c:pt idx="96">
                  <c:v>592.3998944573093</c:v>
                </c:pt>
                <c:pt idx="97">
                  <c:v>4981.1221259365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3D-4A64-909A-537F85722929}"/>
            </c:ext>
          </c:extLst>
        </c:ser>
        <c:ser>
          <c:idx val="1"/>
          <c:order val="1"/>
          <c:tx>
            <c:strRef>
              <c:f>'GRAFIK (2022)'!$H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H$5:$H$102</c:f>
              <c:numCache>
                <c:formatCode>_(* #,##0_);_(* \(#,##0\);_(* "-"_);_(@_)</c:formatCode>
                <c:ptCount val="98"/>
                <c:pt idx="0">
                  <c:v>150.06022419537479</c:v>
                </c:pt>
                <c:pt idx="1">
                  <c:v>1848.312655187837</c:v>
                </c:pt>
                <c:pt idx="2">
                  <c:v>3529.368418775538</c:v>
                </c:pt>
                <c:pt idx="3">
                  <c:v>13531.537142146741</c:v>
                </c:pt>
                <c:pt idx="4">
                  <c:v>33612.681219487036</c:v>
                </c:pt>
                <c:pt idx="5">
                  <c:v>127300.87719445763</c:v>
                </c:pt>
                <c:pt idx="6">
                  <c:v>308902.37975380092</c:v>
                </c:pt>
                <c:pt idx="7">
                  <c:v>472663.50202369003</c:v>
                </c:pt>
                <c:pt idx="8">
                  <c:v>477448.31672083016</c:v>
                </c:pt>
                <c:pt idx="9">
                  <c:v>493873.14644997555</c:v>
                </c:pt>
                <c:pt idx="10">
                  <c:v>512529.99239434599</c:v>
                </c:pt>
                <c:pt idx="11">
                  <c:v>494433.72267957003</c:v>
                </c:pt>
                <c:pt idx="12">
                  <c:v>548784.95794936025</c:v>
                </c:pt>
                <c:pt idx="13">
                  <c:v>585872.35101586313</c:v>
                </c:pt>
                <c:pt idx="14">
                  <c:v>598469.21030871978</c:v>
                </c:pt>
                <c:pt idx="15">
                  <c:v>774129.74043264787</c:v>
                </c:pt>
                <c:pt idx="16">
                  <c:v>842898.87668544846</c:v>
                </c:pt>
                <c:pt idx="17">
                  <c:v>796157.54689701623</c:v>
                </c:pt>
                <c:pt idx="18">
                  <c:v>845088.75217585149</c:v>
                </c:pt>
                <c:pt idx="19">
                  <c:v>616806.33168029354</c:v>
                </c:pt>
                <c:pt idx="20">
                  <c:v>622067.05956587032</c:v>
                </c:pt>
                <c:pt idx="21">
                  <c:v>616302.25648403866</c:v>
                </c:pt>
                <c:pt idx="22">
                  <c:v>443022.3351754105</c:v>
                </c:pt>
                <c:pt idx="23">
                  <c:v>383082.41025364812</c:v>
                </c:pt>
                <c:pt idx="24">
                  <c:v>293929.46797079605</c:v>
                </c:pt>
                <c:pt idx="25">
                  <c:v>181568.68699387478</c:v>
                </c:pt>
                <c:pt idx="26">
                  <c:v>57159.467398173147</c:v>
                </c:pt>
                <c:pt idx="27">
                  <c:v>11138.919521860395</c:v>
                </c:pt>
                <c:pt idx="28">
                  <c:v>10151.327383512147</c:v>
                </c:pt>
                <c:pt idx="29">
                  <c:v>25775.556996475931</c:v>
                </c:pt>
                <c:pt idx="30">
                  <c:v>14018.856886815311</c:v>
                </c:pt>
                <c:pt idx="31">
                  <c:v>0</c:v>
                </c:pt>
                <c:pt idx="32">
                  <c:v>9243.7727982949018</c:v>
                </c:pt>
                <c:pt idx="33">
                  <c:v>8145.1176311784202</c:v>
                </c:pt>
                <c:pt idx="34">
                  <c:v>2360.4250820797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3D-4A64-909A-537F85722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lawes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K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K$5:$K$102</c:f>
              <c:numCache>
                <c:formatCode>_(* #,##0_);_(* \(#,##0\);_(* "-"_);_(@_)</c:formatCode>
                <c:ptCount val="98"/>
                <c:pt idx="0">
                  <c:v>137538.45265245068</c:v>
                </c:pt>
                <c:pt idx="1">
                  <c:v>156948.31786625751</c:v>
                </c:pt>
                <c:pt idx="2">
                  <c:v>153900.13357911291</c:v>
                </c:pt>
                <c:pt idx="3">
                  <c:v>149567.2248383362</c:v>
                </c:pt>
                <c:pt idx="4">
                  <c:v>140302.73091451955</c:v>
                </c:pt>
                <c:pt idx="5">
                  <c:v>116065.05500170746</c:v>
                </c:pt>
                <c:pt idx="6">
                  <c:v>133049.71886568895</c:v>
                </c:pt>
                <c:pt idx="7">
                  <c:v>121985.90486937281</c:v>
                </c:pt>
                <c:pt idx="8">
                  <c:v>110106.86707518745</c:v>
                </c:pt>
                <c:pt idx="9">
                  <c:v>105606.55926564387</c:v>
                </c:pt>
                <c:pt idx="10">
                  <c:v>120953.41347448433</c:v>
                </c:pt>
                <c:pt idx="11">
                  <c:v>98189.388287364971</c:v>
                </c:pt>
                <c:pt idx="12">
                  <c:v>115976.460118078</c:v>
                </c:pt>
                <c:pt idx="13">
                  <c:v>122515.43364797544</c:v>
                </c:pt>
                <c:pt idx="14">
                  <c:v>90837.867118580878</c:v>
                </c:pt>
                <c:pt idx="15">
                  <c:v>110119.68567465416</c:v>
                </c:pt>
                <c:pt idx="16">
                  <c:v>114306.87098255879</c:v>
                </c:pt>
                <c:pt idx="17">
                  <c:v>114127.7800050091</c:v>
                </c:pt>
                <c:pt idx="18">
                  <c:v>107167.94987401745</c:v>
                </c:pt>
                <c:pt idx="19">
                  <c:v>106158.65300855631</c:v>
                </c:pt>
                <c:pt idx="20">
                  <c:v>109742.82632051239</c:v>
                </c:pt>
                <c:pt idx="21">
                  <c:v>103129.63683100045</c:v>
                </c:pt>
                <c:pt idx="22">
                  <c:v>101773.69799947503</c:v>
                </c:pt>
                <c:pt idx="23">
                  <c:v>113759.91949086459</c:v>
                </c:pt>
                <c:pt idx="24">
                  <c:v>119295.6668589875</c:v>
                </c:pt>
                <c:pt idx="25">
                  <c:v>118284.50418992512</c:v>
                </c:pt>
                <c:pt idx="26">
                  <c:v>141735.40003462488</c:v>
                </c:pt>
                <c:pt idx="27">
                  <c:v>124699.69199111169</c:v>
                </c:pt>
                <c:pt idx="28">
                  <c:v>126877.3344873251</c:v>
                </c:pt>
                <c:pt idx="29">
                  <c:v>128520.57970810853</c:v>
                </c:pt>
                <c:pt idx="30">
                  <c:v>139286.14944521754</c:v>
                </c:pt>
                <c:pt idx="31">
                  <c:v>155763.93101720902</c:v>
                </c:pt>
                <c:pt idx="32">
                  <c:v>132185.63790242549</c:v>
                </c:pt>
                <c:pt idx="33">
                  <c:v>151440.94420892192</c:v>
                </c:pt>
                <c:pt idx="34">
                  <c:v>138746.36955669298</c:v>
                </c:pt>
                <c:pt idx="35">
                  <c:v>164970.10030914994</c:v>
                </c:pt>
                <c:pt idx="36">
                  <c:v>158251.18863122389</c:v>
                </c:pt>
                <c:pt idx="37">
                  <c:v>164343.33664143377</c:v>
                </c:pt>
                <c:pt idx="38">
                  <c:v>156531.27622897798</c:v>
                </c:pt>
                <c:pt idx="39">
                  <c:v>178332.21800451452</c:v>
                </c:pt>
                <c:pt idx="40">
                  <c:v>143683.66560141725</c:v>
                </c:pt>
                <c:pt idx="41">
                  <c:v>146747.63022887212</c:v>
                </c:pt>
                <c:pt idx="42">
                  <c:v>174460.89046230027</c:v>
                </c:pt>
                <c:pt idx="43">
                  <c:v>164426.52992342704</c:v>
                </c:pt>
                <c:pt idx="44">
                  <c:v>157345.76684539759</c:v>
                </c:pt>
                <c:pt idx="45">
                  <c:v>190304.16142294678</c:v>
                </c:pt>
                <c:pt idx="46">
                  <c:v>191102.45226126211</c:v>
                </c:pt>
                <c:pt idx="47">
                  <c:v>183384.00994563478</c:v>
                </c:pt>
                <c:pt idx="48">
                  <c:v>187240.59090544507</c:v>
                </c:pt>
                <c:pt idx="49">
                  <c:v>189530.95665040653</c:v>
                </c:pt>
                <c:pt idx="50">
                  <c:v>156078.90214709257</c:v>
                </c:pt>
                <c:pt idx="51">
                  <c:v>168860.72548578132</c:v>
                </c:pt>
                <c:pt idx="52">
                  <c:v>146120.99498750124</c:v>
                </c:pt>
                <c:pt idx="53">
                  <c:v>161837.03145206787</c:v>
                </c:pt>
                <c:pt idx="54">
                  <c:v>184860.00475834723</c:v>
                </c:pt>
                <c:pt idx="55">
                  <c:v>177649.510435406</c:v>
                </c:pt>
                <c:pt idx="56">
                  <c:v>180660.8535510714</c:v>
                </c:pt>
                <c:pt idx="57">
                  <c:v>155623.40914055295</c:v>
                </c:pt>
                <c:pt idx="58">
                  <c:v>172043.07352747361</c:v>
                </c:pt>
                <c:pt idx="59">
                  <c:v>158113.17360443418</c:v>
                </c:pt>
                <c:pt idx="60">
                  <c:v>143842.2985846404</c:v>
                </c:pt>
                <c:pt idx="61">
                  <c:v>181013.03283239002</c:v>
                </c:pt>
                <c:pt idx="62">
                  <c:v>198744.2614209422</c:v>
                </c:pt>
                <c:pt idx="63">
                  <c:v>163955.27001132307</c:v>
                </c:pt>
                <c:pt idx="64">
                  <c:v>168795.34932759393</c:v>
                </c:pt>
                <c:pt idx="65">
                  <c:v>183786.9031880917</c:v>
                </c:pt>
                <c:pt idx="66">
                  <c:v>181556.90881526464</c:v>
                </c:pt>
                <c:pt idx="67">
                  <c:v>190269.41126267609</c:v>
                </c:pt>
                <c:pt idx="68">
                  <c:v>166314.44918236561</c:v>
                </c:pt>
                <c:pt idx="69">
                  <c:v>150559.47602613459</c:v>
                </c:pt>
                <c:pt idx="70">
                  <c:v>141917.94181484304</c:v>
                </c:pt>
                <c:pt idx="71">
                  <c:v>152933.25405782388</c:v>
                </c:pt>
                <c:pt idx="72">
                  <c:v>133544.66872840771</c:v>
                </c:pt>
                <c:pt idx="73">
                  <c:v>119328.4757579359</c:v>
                </c:pt>
                <c:pt idx="74">
                  <c:v>125982.73261863214</c:v>
                </c:pt>
                <c:pt idx="75">
                  <c:v>175162.67179463489</c:v>
                </c:pt>
                <c:pt idx="76">
                  <c:v>131610.88563739878</c:v>
                </c:pt>
                <c:pt idx="77">
                  <c:v>117844.53205611133</c:v>
                </c:pt>
                <c:pt idx="78">
                  <c:v>84041.105447644964</c:v>
                </c:pt>
                <c:pt idx="79">
                  <c:v>94262.131915007252</c:v>
                </c:pt>
                <c:pt idx="80">
                  <c:v>154447.55997588494</c:v>
                </c:pt>
                <c:pt idx="81">
                  <c:v>127360.75154240137</c:v>
                </c:pt>
                <c:pt idx="82">
                  <c:v>115763.14558410051</c:v>
                </c:pt>
                <c:pt idx="83">
                  <c:v>189884.42191511771</c:v>
                </c:pt>
                <c:pt idx="84">
                  <c:v>93863.824117525801</c:v>
                </c:pt>
                <c:pt idx="85">
                  <c:v>94265.087369025612</c:v>
                </c:pt>
                <c:pt idx="86">
                  <c:v>80180.470448337132</c:v>
                </c:pt>
                <c:pt idx="87">
                  <c:v>100286.79322102817</c:v>
                </c:pt>
                <c:pt idx="88">
                  <c:v>79946.924746331293</c:v>
                </c:pt>
                <c:pt idx="89">
                  <c:v>160234.52711446106</c:v>
                </c:pt>
                <c:pt idx="90">
                  <c:v>60295.784867009985</c:v>
                </c:pt>
                <c:pt idx="91">
                  <c:v>160894.46111339499</c:v>
                </c:pt>
                <c:pt idx="92">
                  <c:v>387197.5913470934</c:v>
                </c:pt>
                <c:pt idx="93">
                  <c:v>51816.302653445564</c:v>
                </c:pt>
                <c:pt idx="94">
                  <c:v>72769.795643967707</c:v>
                </c:pt>
                <c:pt idx="95">
                  <c:v>238599.46941730345</c:v>
                </c:pt>
                <c:pt idx="96">
                  <c:v>34449.794189239248</c:v>
                </c:pt>
                <c:pt idx="97">
                  <c:v>37171.194085694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74-41D6-87D6-04F513C2DC17}"/>
            </c:ext>
          </c:extLst>
        </c:ser>
        <c:ser>
          <c:idx val="1"/>
          <c:order val="1"/>
          <c:tx>
            <c:strRef>
              <c:f>'GRAFIK (2022)'!$L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L$5:$L$102</c:f>
              <c:numCache>
                <c:formatCode>_(* #,##0_);_(* \(#,##0\);_(* "-"_);_(@_)</c:formatCode>
                <c:ptCount val="98"/>
                <c:pt idx="0">
                  <c:v>35.577854994184541</c:v>
                </c:pt>
                <c:pt idx="1">
                  <c:v>1317.3149315534065</c:v>
                </c:pt>
                <c:pt idx="2">
                  <c:v>2170.7635878374435</c:v>
                </c:pt>
                <c:pt idx="3">
                  <c:v>7471.3252189357509</c:v>
                </c:pt>
                <c:pt idx="4">
                  <c:v>28739.576451586803</c:v>
                </c:pt>
                <c:pt idx="5">
                  <c:v>109004.09795150471</c:v>
                </c:pt>
                <c:pt idx="6">
                  <c:v>310792.71002183552</c:v>
                </c:pt>
                <c:pt idx="7">
                  <c:v>525978.05014989793</c:v>
                </c:pt>
                <c:pt idx="8">
                  <c:v>515680.00725674001</c:v>
                </c:pt>
                <c:pt idx="9">
                  <c:v>532140.96735431021</c:v>
                </c:pt>
                <c:pt idx="10">
                  <c:v>560936.77961660805</c:v>
                </c:pt>
                <c:pt idx="11">
                  <c:v>553038.747063566</c:v>
                </c:pt>
                <c:pt idx="12">
                  <c:v>596579.3436386392</c:v>
                </c:pt>
                <c:pt idx="13">
                  <c:v>625418.5519512454</c:v>
                </c:pt>
                <c:pt idx="14">
                  <c:v>621536.95313544571</c:v>
                </c:pt>
                <c:pt idx="15">
                  <c:v>746646.78170391009</c:v>
                </c:pt>
                <c:pt idx="16">
                  <c:v>842290.97902519919</c:v>
                </c:pt>
                <c:pt idx="17">
                  <c:v>757091.62591875566</c:v>
                </c:pt>
                <c:pt idx="18">
                  <c:v>721998.272265887</c:v>
                </c:pt>
                <c:pt idx="19">
                  <c:v>607339.5809958973</c:v>
                </c:pt>
                <c:pt idx="20">
                  <c:v>649516.87226183061</c:v>
                </c:pt>
                <c:pt idx="21">
                  <c:v>597939.55847171135</c:v>
                </c:pt>
                <c:pt idx="22">
                  <c:v>513743.37829321518</c:v>
                </c:pt>
                <c:pt idx="23">
                  <c:v>407767.42543812119</c:v>
                </c:pt>
                <c:pt idx="24">
                  <c:v>289615.29945490841</c:v>
                </c:pt>
                <c:pt idx="25">
                  <c:v>247053.07682115393</c:v>
                </c:pt>
                <c:pt idx="26">
                  <c:v>100627.78898222461</c:v>
                </c:pt>
                <c:pt idx="27">
                  <c:v>9972.9562364028243</c:v>
                </c:pt>
                <c:pt idx="28">
                  <c:v>14992.817808906293</c:v>
                </c:pt>
                <c:pt idx="29">
                  <c:v>2100.581928440617</c:v>
                </c:pt>
                <c:pt idx="30">
                  <c:v>10861.522715803863</c:v>
                </c:pt>
                <c:pt idx="31">
                  <c:v>3720.7058769037021</c:v>
                </c:pt>
                <c:pt idx="32">
                  <c:v>6602.8421066564979</c:v>
                </c:pt>
                <c:pt idx="33">
                  <c:v>183.88720880383204</c:v>
                </c:pt>
                <c:pt idx="34">
                  <c:v>5711.6528842236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74-41D6-87D6-04F513C2DC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alimanta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I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I$5:$I$102</c:f>
              <c:numCache>
                <c:formatCode>_(* #,##0_);_(* \(#,##0\);_(* "-"_);_(@_)</c:formatCode>
                <c:ptCount val="98"/>
                <c:pt idx="0">
                  <c:v>197766.21356526631</c:v>
                </c:pt>
                <c:pt idx="1">
                  <c:v>168611.0116411612</c:v>
                </c:pt>
                <c:pt idx="2">
                  <c:v>170405.07522456121</c:v>
                </c:pt>
                <c:pt idx="3">
                  <c:v>149196.8743886014</c:v>
                </c:pt>
                <c:pt idx="4">
                  <c:v>155732.94367907569</c:v>
                </c:pt>
                <c:pt idx="5">
                  <c:v>124995.29651887261</c:v>
                </c:pt>
                <c:pt idx="6">
                  <c:v>129020.28482071951</c:v>
                </c:pt>
                <c:pt idx="7">
                  <c:v>120270.92927367838</c:v>
                </c:pt>
                <c:pt idx="8">
                  <c:v>123724.64001362506</c:v>
                </c:pt>
                <c:pt idx="9">
                  <c:v>105080.51005080063</c:v>
                </c:pt>
                <c:pt idx="10">
                  <c:v>149235.52317927169</c:v>
                </c:pt>
                <c:pt idx="11">
                  <c:v>109094.01587773932</c:v>
                </c:pt>
                <c:pt idx="12">
                  <c:v>105164.68691907916</c:v>
                </c:pt>
                <c:pt idx="13">
                  <c:v>98088.667836855631</c:v>
                </c:pt>
                <c:pt idx="14">
                  <c:v>94440.523433515235</c:v>
                </c:pt>
                <c:pt idx="15">
                  <c:v>114044.69942590012</c:v>
                </c:pt>
                <c:pt idx="16">
                  <c:v>111192.0862675268</c:v>
                </c:pt>
                <c:pt idx="17">
                  <c:v>101874.97548076525</c:v>
                </c:pt>
                <c:pt idx="18">
                  <c:v>107345.60047962739</c:v>
                </c:pt>
                <c:pt idx="19">
                  <c:v>86297.413916184567</c:v>
                </c:pt>
                <c:pt idx="20">
                  <c:v>80207.692775754258</c:v>
                </c:pt>
                <c:pt idx="21">
                  <c:v>103476.91902357433</c:v>
                </c:pt>
                <c:pt idx="22">
                  <c:v>123015.82541746568</c:v>
                </c:pt>
                <c:pt idx="23">
                  <c:v>106686.82803331979</c:v>
                </c:pt>
                <c:pt idx="24">
                  <c:v>120986.6915208846</c:v>
                </c:pt>
                <c:pt idx="25">
                  <c:v>112748.11980876944</c:v>
                </c:pt>
                <c:pt idx="26">
                  <c:v>152772.04063133703</c:v>
                </c:pt>
                <c:pt idx="27">
                  <c:v>152352.10164737402</c:v>
                </c:pt>
                <c:pt idx="28">
                  <c:v>134562.35095507861</c:v>
                </c:pt>
                <c:pt idx="29">
                  <c:v>160415.43617908203</c:v>
                </c:pt>
                <c:pt idx="30">
                  <c:v>175444.37764472936</c:v>
                </c:pt>
                <c:pt idx="31">
                  <c:v>172465.73383794614</c:v>
                </c:pt>
                <c:pt idx="32">
                  <c:v>163118.7937977977</c:v>
                </c:pt>
                <c:pt idx="33">
                  <c:v>167699.81296802952</c:v>
                </c:pt>
                <c:pt idx="34">
                  <c:v>180913.61249114707</c:v>
                </c:pt>
                <c:pt idx="35">
                  <c:v>230649.9611418251</c:v>
                </c:pt>
                <c:pt idx="36">
                  <c:v>203675.01549539846</c:v>
                </c:pt>
                <c:pt idx="37">
                  <c:v>197330.60511399008</c:v>
                </c:pt>
                <c:pt idx="38">
                  <c:v>185294.02845987881</c:v>
                </c:pt>
                <c:pt idx="39">
                  <c:v>199227.5805860174</c:v>
                </c:pt>
                <c:pt idx="40">
                  <c:v>161564.20177968577</c:v>
                </c:pt>
                <c:pt idx="41">
                  <c:v>183548.36697316609</c:v>
                </c:pt>
                <c:pt idx="42">
                  <c:v>208979.40012305399</c:v>
                </c:pt>
                <c:pt idx="43">
                  <c:v>177261.57746997121</c:v>
                </c:pt>
                <c:pt idx="44">
                  <c:v>188388.58151780535</c:v>
                </c:pt>
                <c:pt idx="45">
                  <c:v>189094.2850798867</c:v>
                </c:pt>
                <c:pt idx="46">
                  <c:v>212688.18232418495</c:v>
                </c:pt>
                <c:pt idx="47">
                  <c:v>226855.79391015123</c:v>
                </c:pt>
                <c:pt idx="48">
                  <c:v>218742.01777728595</c:v>
                </c:pt>
                <c:pt idx="49">
                  <c:v>215608.95150943584</c:v>
                </c:pt>
                <c:pt idx="50">
                  <c:v>178151.13584183733</c:v>
                </c:pt>
                <c:pt idx="51">
                  <c:v>143499.28671071431</c:v>
                </c:pt>
                <c:pt idx="52">
                  <c:v>186731.65276047186</c:v>
                </c:pt>
                <c:pt idx="53">
                  <c:v>164611.30204501614</c:v>
                </c:pt>
                <c:pt idx="54">
                  <c:v>260935.83975289023</c:v>
                </c:pt>
                <c:pt idx="55">
                  <c:v>272123.9241532365</c:v>
                </c:pt>
                <c:pt idx="56">
                  <c:v>229628.17727619605</c:v>
                </c:pt>
                <c:pt idx="57">
                  <c:v>238361.53550926593</c:v>
                </c:pt>
                <c:pt idx="58">
                  <c:v>249340.92265783</c:v>
                </c:pt>
                <c:pt idx="59">
                  <c:v>275940.16848274251</c:v>
                </c:pt>
                <c:pt idx="60">
                  <c:v>261995.33273434095</c:v>
                </c:pt>
                <c:pt idx="61">
                  <c:v>216654.78168760659</c:v>
                </c:pt>
                <c:pt idx="62">
                  <c:v>218233.95611869326</c:v>
                </c:pt>
                <c:pt idx="63">
                  <c:v>334914.67523311143</c:v>
                </c:pt>
                <c:pt idx="64">
                  <c:v>222884.11505679155</c:v>
                </c:pt>
                <c:pt idx="65">
                  <c:v>183235.18189547808</c:v>
                </c:pt>
                <c:pt idx="66">
                  <c:v>238514.70234811629</c:v>
                </c:pt>
                <c:pt idx="67">
                  <c:v>321468.81665485894</c:v>
                </c:pt>
                <c:pt idx="68">
                  <c:v>227791.63451314892</c:v>
                </c:pt>
                <c:pt idx="69">
                  <c:v>202990.18212254386</c:v>
                </c:pt>
                <c:pt idx="70">
                  <c:v>211939.9737391597</c:v>
                </c:pt>
                <c:pt idx="71">
                  <c:v>135610.66095108518</c:v>
                </c:pt>
                <c:pt idx="72">
                  <c:v>274678.35107907542</c:v>
                </c:pt>
                <c:pt idx="73">
                  <c:v>127427.84099633535</c:v>
                </c:pt>
                <c:pt idx="74">
                  <c:v>113952.82460235433</c:v>
                </c:pt>
                <c:pt idx="75">
                  <c:v>163060.37172640685</c:v>
                </c:pt>
                <c:pt idx="76">
                  <c:v>150517.22011950274</c:v>
                </c:pt>
                <c:pt idx="77">
                  <c:v>294447.67410049873</c:v>
                </c:pt>
                <c:pt idx="78">
                  <c:v>111281.37054437082</c:v>
                </c:pt>
                <c:pt idx="79">
                  <c:v>118800.88765521708</c:v>
                </c:pt>
                <c:pt idx="80">
                  <c:v>264348.31283972046</c:v>
                </c:pt>
                <c:pt idx="81">
                  <c:v>246908.35834332567</c:v>
                </c:pt>
                <c:pt idx="82">
                  <c:v>112376.09370531607</c:v>
                </c:pt>
                <c:pt idx="83">
                  <c:v>194608.45489921965</c:v>
                </c:pt>
                <c:pt idx="84">
                  <c:v>274086.65684805281</c:v>
                </c:pt>
                <c:pt idx="85">
                  <c:v>238307.73207765896</c:v>
                </c:pt>
                <c:pt idx="86">
                  <c:v>49499.03271707637</c:v>
                </c:pt>
                <c:pt idx="87">
                  <c:v>15272.064884936177</c:v>
                </c:pt>
                <c:pt idx="88">
                  <c:v>15947.497085161151</c:v>
                </c:pt>
                <c:pt idx="89">
                  <c:v>260903.29399299924</c:v>
                </c:pt>
                <c:pt idx="90">
                  <c:v>57575.030314710428</c:v>
                </c:pt>
                <c:pt idx="91">
                  <c:v>250133.87852653809</c:v>
                </c:pt>
                <c:pt idx="92">
                  <c:v>101214.20050395794</c:v>
                </c:pt>
                <c:pt idx="93">
                  <c:v>22782.56496234873</c:v>
                </c:pt>
                <c:pt idx="94">
                  <c:v>5069.8542445496778</c:v>
                </c:pt>
                <c:pt idx="95">
                  <c:v>0</c:v>
                </c:pt>
                <c:pt idx="96">
                  <c:v>0</c:v>
                </c:pt>
                <c:pt idx="97">
                  <c:v>31144.4851033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6A-4F14-B797-F050AE2CF554}"/>
            </c:ext>
          </c:extLst>
        </c:ser>
        <c:ser>
          <c:idx val="1"/>
          <c:order val="1"/>
          <c:tx>
            <c:strRef>
              <c:f>'GRAFIK (2022)'!$J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J$5:$J$102</c:f>
              <c:numCache>
                <c:formatCode>_(* #,##0_);_(* \(#,##0\);_(* "-"_);_(@_)</c:formatCode>
                <c:ptCount val="98"/>
                <c:pt idx="0">
                  <c:v>27.54184423825582</c:v>
                </c:pt>
                <c:pt idx="1">
                  <c:v>1299.3777218024902</c:v>
                </c:pt>
                <c:pt idx="2">
                  <c:v>2721.4962018468336</c:v>
                </c:pt>
                <c:pt idx="3">
                  <c:v>16273.074887181789</c:v>
                </c:pt>
                <c:pt idx="4">
                  <c:v>54691.023288807621</c:v>
                </c:pt>
                <c:pt idx="5">
                  <c:v>212456.718123928</c:v>
                </c:pt>
                <c:pt idx="6">
                  <c:v>428818.97498265153</c:v>
                </c:pt>
                <c:pt idx="7">
                  <c:v>654327.956563849</c:v>
                </c:pt>
                <c:pt idx="8">
                  <c:v>666224.55662090739</c:v>
                </c:pt>
                <c:pt idx="9">
                  <c:v>704027.08389096078</c:v>
                </c:pt>
                <c:pt idx="10">
                  <c:v>704822.76135056862</c:v>
                </c:pt>
                <c:pt idx="11">
                  <c:v>691342.36836868897</c:v>
                </c:pt>
                <c:pt idx="12">
                  <c:v>725621.21846290049</c:v>
                </c:pt>
                <c:pt idx="13">
                  <c:v>812025.14568755869</c:v>
                </c:pt>
                <c:pt idx="14">
                  <c:v>780245.47371749254</c:v>
                </c:pt>
                <c:pt idx="15">
                  <c:v>939660.32030924142</c:v>
                </c:pt>
                <c:pt idx="16">
                  <c:v>951034.65235795046</c:v>
                </c:pt>
                <c:pt idx="17">
                  <c:v>874352.85282453499</c:v>
                </c:pt>
                <c:pt idx="18">
                  <c:v>860742.93916532118</c:v>
                </c:pt>
                <c:pt idx="19">
                  <c:v>659777.68636812794</c:v>
                </c:pt>
                <c:pt idx="20">
                  <c:v>582675.95028106635</c:v>
                </c:pt>
                <c:pt idx="21">
                  <c:v>589822.35974694812</c:v>
                </c:pt>
                <c:pt idx="22">
                  <c:v>501674.48598908022</c:v>
                </c:pt>
                <c:pt idx="23">
                  <c:v>363698.84985286358</c:v>
                </c:pt>
                <c:pt idx="24">
                  <c:v>212162.10787158995</c:v>
                </c:pt>
                <c:pt idx="25">
                  <c:v>192957.5353592691</c:v>
                </c:pt>
                <c:pt idx="26">
                  <c:v>84430.869802936591</c:v>
                </c:pt>
                <c:pt idx="27">
                  <c:v>16204.420205692912</c:v>
                </c:pt>
                <c:pt idx="28">
                  <c:v>8313.0420864956795</c:v>
                </c:pt>
                <c:pt idx="29">
                  <c:v>23120.657301140182</c:v>
                </c:pt>
                <c:pt idx="30">
                  <c:v>12437.059781754877</c:v>
                </c:pt>
                <c:pt idx="31">
                  <c:v>11130.641553380527</c:v>
                </c:pt>
                <c:pt idx="32">
                  <c:v>2395.0959621829174</c:v>
                </c:pt>
                <c:pt idx="33">
                  <c:v>6028.9362783401584</c:v>
                </c:pt>
                <c:pt idx="34">
                  <c:v>3425.0464774315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6A-4F14-B797-F050AE2CF5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aluku Papu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22)'!$M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M$5:$M$102</c:f>
              <c:numCache>
                <c:formatCode>_(* #,##0_);_(* \(#,##0\);_(* "-"_);_(@_)</c:formatCode>
                <c:ptCount val="98"/>
                <c:pt idx="0">
                  <c:v>125890.3499092038</c:v>
                </c:pt>
                <c:pt idx="1">
                  <c:v>154968.94004114479</c:v>
                </c:pt>
                <c:pt idx="2">
                  <c:v>179962.53430932658</c:v>
                </c:pt>
                <c:pt idx="3">
                  <c:v>128600.5378821988</c:v>
                </c:pt>
                <c:pt idx="4">
                  <c:v>153224.09728696672</c:v>
                </c:pt>
                <c:pt idx="5">
                  <c:v>106897.05011884906</c:v>
                </c:pt>
                <c:pt idx="6">
                  <c:v>112335.54387711121</c:v>
                </c:pt>
                <c:pt idx="7">
                  <c:v>91344.612332563891</c:v>
                </c:pt>
                <c:pt idx="8">
                  <c:v>84088.726197747688</c:v>
                </c:pt>
                <c:pt idx="9">
                  <c:v>90601.916128655183</c:v>
                </c:pt>
                <c:pt idx="10">
                  <c:v>88069.180091228103</c:v>
                </c:pt>
                <c:pt idx="11">
                  <c:v>72335.334714342258</c:v>
                </c:pt>
                <c:pt idx="12">
                  <c:v>68498.951068928189</c:v>
                </c:pt>
                <c:pt idx="13">
                  <c:v>68560.398526154138</c:v>
                </c:pt>
                <c:pt idx="14">
                  <c:v>60357.233636353041</c:v>
                </c:pt>
                <c:pt idx="15">
                  <c:v>79961.698827379849</c:v>
                </c:pt>
                <c:pt idx="16">
                  <c:v>67620.595346619899</c:v>
                </c:pt>
                <c:pt idx="17">
                  <c:v>56774.613528325091</c:v>
                </c:pt>
                <c:pt idx="18">
                  <c:v>68155.25021147565</c:v>
                </c:pt>
                <c:pt idx="19">
                  <c:v>53358.079889252542</c:v>
                </c:pt>
                <c:pt idx="20">
                  <c:v>52874.764630081794</c:v>
                </c:pt>
                <c:pt idx="21">
                  <c:v>58898.918778271647</c:v>
                </c:pt>
                <c:pt idx="22">
                  <c:v>51611.360113474686</c:v>
                </c:pt>
                <c:pt idx="23">
                  <c:v>63915.872227889871</c:v>
                </c:pt>
                <c:pt idx="24">
                  <c:v>59596.756176680137</c:v>
                </c:pt>
                <c:pt idx="25">
                  <c:v>58997.384798978441</c:v>
                </c:pt>
                <c:pt idx="26">
                  <c:v>66462.751925448305</c:v>
                </c:pt>
                <c:pt idx="27">
                  <c:v>74234.388866238412</c:v>
                </c:pt>
                <c:pt idx="28">
                  <c:v>112441.48885302365</c:v>
                </c:pt>
                <c:pt idx="29">
                  <c:v>80218.861742786277</c:v>
                </c:pt>
                <c:pt idx="30">
                  <c:v>79569.588820518926</c:v>
                </c:pt>
                <c:pt idx="31">
                  <c:v>89477.884010807698</c:v>
                </c:pt>
                <c:pt idx="32">
                  <c:v>79823.612887718526</c:v>
                </c:pt>
                <c:pt idx="33">
                  <c:v>73396.483008872136</c:v>
                </c:pt>
                <c:pt idx="34">
                  <c:v>84996.343043731205</c:v>
                </c:pt>
                <c:pt idx="35">
                  <c:v>103093.80034295248</c:v>
                </c:pt>
                <c:pt idx="36">
                  <c:v>74732.261296052457</c:v>
                </c:pt>
                <c:pt idx="37">
                  <c:v>96610.847566745011</c:v>
                </c:pt>
                <c:pt idx="38">
                  <c:v>91333.615427132812</c:v>
                </c:pt>
                <c:pt idx="39">
                  <c:v>93484.940079401946</c:v>
                </c:pt>
                <c:pt idx="40">
                  <c:v>87578.826874456368</c:v>
                </c:pt>
                <c:pt idx="41">
                  <c:v>82923.110067818052</c:v>
                </c:pt>
                <c:pt idx="42">
                  <c:v>90881.500868398958</c:v>
                </c:pt>
                <c:pt idx="43">
                  <c:v>88456.183118564164</c:v>
                </c:pt>
                <c:pt idx="44">
                  <c:v>94945.852914924079</c:v>
                </c:pt>
                <c:pt idx="45">
                  <c:v>121781.82600326087</c:v>
                </c:pt>
                <c:pt idx="46">
                  <c:v>99546.18492258183</c:v>
                </c:pt>
                <c:pt idx="47">
                  <c:v>117610.61189524262</c:v>
                </c:pt>
                <c:pt idx="48">
                  <c:v>108803.46172992029</c:v>
                </c:pt>
                <c:pt idx="49">
                  <c:v>134220.08561676426</c:v>
                </c:pt>
                <c:pt idx="50">
                  <c:v>88696.327949483879</c:v>
                </c:pt>
                <c:pt idx="51">
                  <c:v>93409.207681193773</c:v>
                </c:pt>
                <c:pt idx="52">
                  <c:v>108905.33672501381</c:v>
                </c:pt>
                <c:pt idx="53">
                  <c:v>97369.129966014356</c:v>
                </c:pt>
                <c:pt idx="54">
                  <c:v>115426.3952557116</c:v>
                </c:pt>
                <c:pt idx="55">
                  <c:v>101928.17587576681</c:v>
                </c:pt>
                <c:pt idx="56">
                  <c:v>126180.61908404439</c:v>
                </c:pt>
                <c:pt idx="57">
                  <c:v>118555.90854224472</c:v>
                </c:pt>
                <c:pt idx="58">
                  <c:v>158063.1207439912</c:v>
                </c:pt>
                <c:pt idx="59">
                  <c:v>114475.06264467179</c:v>
                </c:pt>
                <c:pt idx="60">
                  <c:v>97734.716473682172</c:v>
                </c:pt>
                <c:pt idx="61">
                  <c:v>100729.91674643123</c:v>
                </c:pt>
                <c:pt idx="62">
                  <c:v>133152.18119237834</c:v>
                </c:pt>
                <c:pt idx="63">
                  <c:v>102219.85069916993</c:v>
                </c:pt>
                <c:pt idx="64">
                  <c:v>105097.83932365102</c:v>
                </c:pt>
                <c:pt idx="65">
                  <c:v>128152.54648618368</c:v>
                </c:pt>
                <c:pt idx="66">
                  <c:v>84413.352105453901</c:v>
                </c:pt>
                <c:pt idx="67">
                  <c:v>111587.17766517014</c:v>
                </c:pt>
                <c:pt idx="68">
                  <c:v>133881.48483002858</c:v>
                </c:pt>
                <c:pt idx="69">
                  <c:v>128675.86887762821</c:v>
                </c:pt>
                <c:pt idx="70">
                  <c:v>112405.53263353958</c:v>
                </c:pt>
                <c:pt idx="71">
                  <c:v>93968.070236500687</c:v>
                </c:pt>
                <c:pt idx="72">
                  <c:v>92440.368449579022</c:v>
                </c:pt>
                <c:pt idx="73">
                  <c:v>77948.23067319073</c:v>
                </c:pt>
                <c:pt idx="74">
                  <c:v>113499.27318256366</c:v>
                </c:pt>
                <c:pt idx="75">
                  <c:v>97141.506189797627</c:v>
                </c:pt>
                <c:pt idx="76">
                  <c:v>99087.837675693037</c:v>
                </c:pt>
                <c:pt idx="77">
                  <c:v>118116.24713082363</c:v>
                </c:pt>
                <c:pt idx="78">
                  <c:v>120665.73653026712</c:v>
                </c:pt>
                <c:pt idx="79">
                  <c:v>84427.315913912738</c:v>
                </c:pt>
                <c:pt idx="80">
                  <c:v>172719.5246907126</c:v>
                </c:pt>
                <c:pt idx="81">
                  <c:v>124522.20948701307</c:v>
                </c:pt>
                <c:pt idx="82">
                  <c:v>102750.89088583732</c:v>
                </c:pt>
                <c:pt idx="83">
                  <c:v>81995.821547886953</c:v>
                </c:pt>
                <c:pt idx="84">
                  <c:v>97807.334460532031</c:v>
                </c:pt>
                <c:pt idx="85">
                  <c:v>51546.412701427282</c:v>
                </c:pt>
                <c:pt idx="86">
                  <c:v>71753.713777626719</c:v>
                </c:pt>
                <c:pt idx="87">
                  <c:v>30515.907449226517</c:v>
                </c:pt>
                <c:pt idx="88">
                  <c:v>246550.04152836284</c:v>
                </c:pt>
                <c:pt idx="89">
                  <c:v>32555.606109902208</c:v>
                </c:pt>
                <c:pt idx="90">
                  <c:v>48442.026717734167</c:v>
                </c:pt>
                <c:pt idx="91">
                  <c:v>24864.705368870786</c:v>
                </c:pt>
                <c:pt idx="92">
                  <c:v>83456.445783002753</c:v>
                </c:pt>
                <c:pt idx="93">
                  <c:v>31173.363866025262</c:v>
                </c:pt>
                <c:pt idx="94">
                  <c:v>56357.637851950247</c:v>
                </c:pt>
                <c:pt idx="95">
                  <c:v>0</c:v>
                </c:pt>
                <c:pt idx="96">
                  <c:v>0</c:v>
                </c:pt>
                <c:pt idx="97">
                  <c:v>4409.180825921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4-4A60-9454-2A2EF9466228}"/>
            </c:ext>
          </c:extLst>
        </c:ser>
        <c:ser>
          <c:idx val="1"/>
          <c:order val="1"/>
          <c:tx>
            <c:strRef>
              <c:f>'GRAFIK (2022)'!$N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22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22)'!$N$5:$N$102</c:f>
              <c:numCache>
                <c:formatCode>_(* #,##0_);_(* \(#,##0\);_(* "-"_);_(@_)</c:formatCode>
                <c:ptCount val="98"/>
                <c:pt idx="0">
                  <c:v>207.63809554652266</c:v>
                </c:pt>
                <c:pt idx="1">
                  <c:v>595.95092511509665</c:v>
                </c:pt>
                <c:pt idx="2">
                  <c:v>1967.8003418354226</c:v>
                </c:pt>
                <c:pt idx="3">
                  <c:v>4009.8982167163804</c:v>
                </c:pt>
                <c:pt idx="4">
                  <c:v>29421.63038311624</c:v>
                </c:pt>
                <c:pt idx="5">
                  <c:v>78136.033179805701</c:v>
                </c:pt>
                <c:pt idx="6">
                  <c:v>302457.3415424116</c:v>
                </c:pt>
                <c:pt idx="7">
                  <c:v>402367.41392019589</c:v>
                </c:pt>
                <c:pt idx="8">
                  <c:v>453419.0432031625</c:v>
                </c:pt>
                <c:pt idx="9">
                  <c:v>476382.74863740301</c:v>
                </c:pt>
                <c:pt idx="10">
                  <c:v>508966.44250288256</c:v>
                </c:pt>
                <c:pt idx="11">
                  <c:v>510610.88235709188</c:v>
                </c:pt>
                <c:pt idx="12">
                  <c:v>516218.23631141568</c:v>
                </c:pt>
                <c:pt idx="13">
                  <c:v>544505.96711041906</c:v>
                </c:pt>
                <c:pt idx="14">
                  <c:v>569405.33346174692</c:v>
                </c:pt>
                <c:pt idx="15">
                  <c:v>704671.82562977634</c:v>
                </c:pt>
                <c:pt idx="16">
                  <c:v>756094.16719963704</c:v>
                </c:pt>
                <c:pt idx="17">
                  <c:v>672504.73007126548</c:v>
                </c:pt>
                <c:pt idx="18">
                  <c:v>632285.7640712607</c:v>
                </c:pt>
                <c:pt idx="19">
                  <c:v>476188.69732241309</c:v>
                </c:pt>
                <c:pt idx="20">
                  <c:v>442343.61059158517</c:v>
                </c:pt>
                <c:pt idx="21">
                  <c:v>483134.42397889681</c:v>
                </c:pt>
                <c:pt idx="22">
                  <c:v>410647.88182438142</c:v>
                </c:pt>
                <c:pt idx="23">
                  <c:v>366496.70918506768</c:v>
                </c:pt>
                <c:pt idx="24">
                  <c:v>185328.13017870078</c:v>
                </c:pt>
                <c:pt idx="25">
                  <c:v>165011.12942336348</c:v>
                </c:pt>
                <c:pt idx="26">
                  <c:v>52796.752538959219</c:v>
                </c:pt>
                <c:pt idx="27">
                  <c:v>7794.8105646689964</c:v>
                </c:pt>
                <c:pt idx="28">
                  <c:v>10593.211634144147</c:v>
                </c:pt>
                <c:pt idx="29">
                  <c:v>3388.1703313932258</c:v>
                </c:pt>
                <c:pt idx="30">
                  <c:v>3936.8326700119255</c:v>
                </c:pt>
                <c:pt idx="31">
                  <c:v>10414.689010438446</c:v>
                </c:pt>
                <c:pt idx="32">
                  <c:v>1329.8237197005747</c:v>
                </c:pt>
                <c:pt idx="33">
                  <c:v>1672.0567022175765</c:v>
                </c:pt>
                <c:pt idx="34">
                  <c:v>2630.4799478227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4-4A60-9454-2A2EF94662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Ln( Per child Human Capital Spending / ave Labor Income 30-49 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0.2013888888888889"/>
                  <c:y val="-0.15740740740740741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Java-Bali 2019; </a:t>
                    </a:r>
                    <a:fld id="{4B8370E2-3990-534B-A50A-E1526CC634EB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66666666666666"/>
                      <c:h val="0.115601851851851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146-5F47-BCE5-AF9E15D9C900}"/>
                </c:ext>
              </c:extLst>
            </c:dLbl>
            <c:dLbl>
              <c:idx val="3"/>
              <c:layout>
                <c:manualLayout>
                  <c:x val="-4.4444444444444446E-2"/>
                  <c:y val="-0.1064814814814814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TT, 2019</a:t>
                    </a:r>
                    <a:r>
                      <a:rPr lang="en-US" baseline="0"/>
                      <a:t>; </a:t>
                    </a:r>
                    <a:fld id="{E5B91478-CFC3-3F4A-A338-FE85C7A27976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146-5F47-BCE5-AF9E15D9C900}"/>
                </c:ext>
              </c:extLst>
            </c:dLbl>
            <c:dLbl>
              <c:idx val="9"/>
              <c:layout>
                <c:manualLayout>
                  <c:x val="-0.1361111111111111"/>
                  <c:y val="0.1435185185185184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Java-Bali</a:t>
                    </a:r>
                    <a:r>
                      <a:rPr lang="en-US" baseline="0"/>
                      <a:t> 2022; </a:t>
                    </a:r>
                    <a:fld id="{4E7BC548-706D-A949-AEB7-3E42DD30DE8E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146-5F47-BCE5-AF9E15D9C900}"/>
                </c:ext>
              </c:extLst>
            </c:dLbl>
            <c:dLbl>
              <c:idx val="10"/>
              <c:layout>
                <c:manualLayout>
                  <c:x val="-4.4444444444444446E-2"/>
                  <c:y val="7.40740740740740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TT, 2022</a:t>
                    </a:r>
                    <a:r>
                      <a:rPr lang="en-US" baseline="0"/>
                      <a:t>; </a:t>
                    </a:r>
                    <a:fld id="{4DE60B7C-6FB9-8E45-8E78-E7FC2D3C1035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146-5F47-BCE5-AF9E15D9C9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C00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Summary!$B$46:$O$46</c:f>
              <c:numCache>
                <c:formatCode>_-* #,##0.00_-;\-* #,##0.00_-;_-* "-"_-;_-@_-</c:formatCode>
                <c:ptCount val="14"/>
                <c:pt idx="0">
                  <c:v>0.74668794748797507</c:v>
                </c:pt>
                <c:pt idx="1">
                  <c:v>0.80514700640200254</c:v>
                </c:pt>
                <c:pt idx="2">
                  <c:v>0.57185508875465718</c:v>
                </c:pt>
                <c:pt idx="3">
                  <c:v>0.77701073156524492</c:v>
                </c:pt>
                <c:pt idx="4">
                  <c:v>0.7156702466027447</c:v>
                </c:pt>
                <c:pt idx="5">
                  <c:v>0.76992305108224945</c:v>
                </c:pt>
                <c:pt idx="6">
                  <c:v>0.84642861043753503</c:v>
                </c:pt>
                <c:pt idx="7">
                  <c:v>0.74193734472937733</c:v>
                </c:pt>
                <c:pt idx="8">
                  <c:v>0.78311543964913388</c:v>
                </c:pt>
                <c:pt idx="9">
                  <c:v>0.61491722905088764</c:v>
                </c:pt>
                <c:pt idx="10">
                  <c:v>0.7910889124364191</c:v>
                </c:pt>
                <c:pt idx="11">
                  <c:v>0.6448876042767635</c:v>
                </c:pt>
                <c:pt idx="12">
                  <c:v>0.7262853213069872</c:v>
                </c:pt>
                <c:pt idx="13">
                  <c:v>0.82745717791257867</c:v>
                </c:pt>
              </c:numCache>
            </c:numRef>
          </c:xVal>
          <c:yVal>
            <c:numRef>
              <c:f>Summary!$B$50:$O$50</c:f>
              <c:numCache>
                <c:formatCode>0.00</c:formatCode>
                <c:ptCount val="14"/>
                <c:pt idx="0">
                  <c:v>0.49978575481901177</c:v>
                </c:pt>
                <c:pt idx="1">
                  <c:v>0.44605891483592125</c:v>
                </c:pt>
                <c:pt idx="2">
                  <c:v>0.53824620882206753</c:v>
                </c:pt>
                <c:pt idx="3">
                  <c:v>0.79106576725531885</c:v>
                </c:pt>
                <c:pt idx="4">
                  <c:v>0.51653403804446185</c:v>
                </c:pt>
                <c:pt idx="5">
                  <c:v>0.40384868857500744</c:v>
                </c:pt>
                <c:pt idx="6">
                  <c:v>0.42765986980767434</c:v>
                </c:pt>
                <c:pt idx="7">
                  <c:v>0.49257378198226043</c:v>
                </c:pt>
                <c:pt idx="8">
                  <c:v>0.44565739872222332</c:v>
                </c:pt>
                <c:pt idx="9">
                  <c:v>0.52701433330230563</c:v>
                </c:pt>
                <c:pt idx="10">
                  <c:v>0.73031608127141567</c:v>
                </c:pt>
                <c:pt idx="11">
                  <c:v>0.51304354729394652</c:v>
                </c:pt>
                <c:pt idx="12">
                  <c:v>0.32588190065705802</c:v>
                </c:pt>
                <c:pt idx="13">
                  <c:v>0.359927602877657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5146-5F47-BCE5-AF9E15D9C9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9502944"/>
        <c:axId val="1248972912"/>
      </c:scatterChart>
      <c:valAx>
        <c:axId val="1249502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0_-;\-* #,##0.00_-;_-* &quot;-&quot;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8972912"/>
        <c:crosses val="autoZero"/>
        <c:crossBetween val="midCat"/>
      </c:valAx>
      <c:valAx>
        <c:axId val="124897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95029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Sumatera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umatera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BX$5:$BX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029.922496000001</c:v>
                </c:pt>
                <c:pt idx="11">
                  <c:v>18565.978713840002</c:v>
                </c:pt>
                <c:pt idx="12">
                  <c:v>35929.501037279995</c:v>
                </c:pt>
                <c:pt idx="13">
                  <c:v>66186.456179279994</c:v>
                </c:pt>
                <c:pt idx="14">
                  <c:v>119579.95732464004</c:v>
                </c:pt>
                <c:pt idx="15">
                  <c:v>206543.20926780003</c:v>
                </c:pt>
                <c:pt idx="16">
                  <c:v>333925.72848419996</c:v>
                </c:pt>
                <c:pt idx="17">
                  <c:v>499119.7532568</c:v>
                </c:pt>
                <c:pt idx="18">
                  <c:v>700940.91834839992</c:v>
                </c:pt>
                <c:pt idx="19">
                  <c:v>926095.80128399993</c:v>
                </c:pt>
                <c:pt idx="20">
                  <c:v>1153017.0102503998</c:v>
                </c:pt>
                <c:pt idx="21">
                  <c:v>1365721.9656348</c:v>
                </c:pt>
                <c:pt idx="22">
                  <c:v>1572211.9865232001</c:v>
                </c:pt>
                <c:pt idx="23">
                  <c:v>1763868.926184</c:v>
                </c:pt>
                <c:pt idx="24">
                  <c:v>1935836.3532599998</c:v>
                </c:pt>
                <c:pt idx="25">
                  <c:v>2103304.7855639998</c:v>
                </c:pt>
                <c:pt idx="26">
                  <c:v>2267904.1529999999</c:v>
                </c:pt>
                <c:pt idx="27">
                  <c:v>2410823.1021959996</c:v>
                </c:pt>
                <c:pt idx="28">
                  <c:v>2526273.2272199998</c:v>
                </c:pt>
                <c:pt idx="29">
                  <c:v>2629485.5156279998</c:v>
                </c:pt>
                <c:pt idx="30">
                  <c:v>2707720.0844220002</c:v>
                </c:pt>
                <c:pt idx="31">
                  <c:v>2767239.0100079998</c:v>
                </c:pt>
                <c:pt idx="32">
                  <c:v>2812904.0357399997</c:v>
                </c:pt>
                <c:pt idx="33">
                  <c:v>2867658.984408</c:v>
                </c:pt>
                <c:pt idx="34">
                  <c:v>2919218.5668599997</c:v>
                </c:pt>
                <c:pt idx="35">
                  <c:v>2972172.1877159998</c:v>
                </c:pt>
                <c:pt idx="36">
                  <c:v>3029787.807732</c:v>
                </c:pt>
                <c:pt idx="37">
                  <c:v>3105618.8414460002</c:v>
                </c:pt>
                <c:pt idx="38">
                  <c:v>3170175.2634719997</c:v>
                </c:pt>
                <c:pt idx="39">
                  <c:v>3237619.4769959995</c:v>
                </c:pt>
                <c:pt idx="40">
                  <c:v>3309232.3861799999</c:v>
                </c:pt>
                <c:pt idx="41">
                  <c:v>3376240.9332720004</c:v>
                </c:pt>
                <c:pt idx="42">
                  <c:v>3414864.4561859993</c:v>
                </c:pt>
                <c:pt idx="43">
                  <c:v>3451032.5977320001</c:v>
                </c:pt>
                <c:pt idx="44">
                  <c:v>3470641.0596659994</c:v>
                </c:pt>
                <c:pt idx="45">
                  <c:v>3476975.1331499992</c:v>
                </c:pt>
                <c:pt idx="46">
                  <c:v>3479326.5115860002</c:v>
                </c:pt>
                <c:pt idx="47">
                  <c:v>3489552.4803419993</c:v>
                </c:pt>
                <c:pt idx="48">
                  <c:v>3481059.7174199997</c:v>
                </c:pt>
                <c:pt idx="49">
                  <c:v>3458044.0374119999</c:v>
                </c:pt>
                <c:pt idx="50">
                  <c:v>3413815.9389179996</c:v>
                </c:pt>
                <c:pt idx="51">
                  <c:v>3347436.6754379994</c:v>
                </c:pt>
                <c:pt idx="52">
                  <c:v>3243134.0596259995</c:v>
                </c:pt>
                <c:pt idx="53">
                  <c:v>3107562.6972119999</c:v>
                </c:pt>
                <c:pt idx="54">
                  <c:v>2938908.5232419996</c:v>
                </c:pt>
                <c:pt idx="55">
                  <c:v>2766513.2933279998</c:v>
                </c:pt>
                <c:pt idx="56">
                  <c:v>2563654.0600379994</c:v>
                </c:pt>
                <c:pt idx="57">
                  <c:v>2359934.6193120005</c:v>
                </c:pt>
                <c:pt idx="58">
                  <c:v>2167629.974682</c:v>
                </c:pt>
                <c:pt idx="59">
                  <c:v>1997452.5585179999</c:v>
                </c:pt>
                <c:pt idx="60">
                  <c:v>1806294.6419879994</c:v>
                </c:pt>
                <c:pt idx="61">
                  <c:v>1641997.0591200001</c:v>
                </c:pt>
                <c:pt idx="62">
                  <c:v>1502308.0752900001</c:v>
                </c:pt>
                <c:pt idx="63">
                  <c:v>1374177.4691273998</c:v>
                </c:pt>
                <c:pt idx="64">
                  <c:v>1263332.8989755998</c:v>
                </c:pt>
                <c:pt idx="65">
                  <c:v>1207553.1857718001</c:v>
                </c:pt>
                <c:pt idx="66">
                  <c:v>1178501.8469580002</c:v>
                </c:pt>
                <c:pt idx="67">
                  <c:v>1141125.7973280002</c:v>
                </c:pt>
                <c:pt idx="68">
                  <c:v>1110378.0936761999</c:v>
                </c:pt>
                <c:pt idx="69">
                  <c:v>1083238.4271624</c:v>
                </c:pt>
                <c:pt idx="70">
                  <c:v>1002918.6200718001</c:v>
                </c:pt>
                <c:pt idx="71">
                  <c:v>902888.56020419986</c:v>
                </c:pt>
                <c:pt idx="72">
                  <c:v>812844.82232280006</c:v>
                </c:pt>
                <c:pt idx="73">
                  <c:v>731015.33679840004</c:v>
                </c:pt>
                <c:pt idx="74">
                  <c:v>650622.56027339993</c:v>
                </c:pt>
                <c:pt idx="75">
                  <c:v>603009.68665259995</c:v>
                </c:pt>
                <c:pt idx="76">
                  <c:v>559570.62246480002</c:v>
                </c:pt>
                <c:pt idx="77">
                  <c:v>522965.59802627994</c:v>
                </c:pt>
                <c:pt idx="78">
                  <c:v>477974.97071346</c:v>
                </c:pt>
                <c:pt idx="79">
                  <c:v>445940.6387134199</c:v>
                </c:pt>
                <c:pt idx="80">
                  <c:v>408458.98719359998</c:v>
                </c:pt>
                <c:pt idx="81">
                  <c:v>375926.93815344002</c:v>
                </c:pt>
                <c:pt idx="82">
                  <c:v>342708.74200362002</c:v>
                </c:pt>
                <c:pt idx="83">
                  <c:v>271935.46109983802</c:v>
                </c:pt>
                <c:pt idx="84">
                  <c:v>240114.25026611998</c:v>
                </c:pt>
                <c:pt idx="85">
                  <c:v>208323.52189474803</c:v>
                </c:pt>
                <c:pt idx="86">
                  <c:v>152179.15839664804</c:v>
                </c:pt>
                <c:pt idx="87">
                  <c:v>101034.17986414202</c:v>
                </c:pt>
                <c:pt idx="88">
                  <c:v>87800.080919389802</c:v>
                </c:pt>
                <c:pt idx="89">
                  <c:v>76992.075461678411</c:v>
                </c:pt>
                <c:pt idx="90">
                  <c:v>63712.392789280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38-9A49-AB8A-01B05B6C1D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1"/>
          <c:order val="1"/>
          <c:tx>
            <c:v>National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38-9A49-AB8A-01B05B6C1D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Java-Bali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Java-Bali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BY$5:$BY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7935.282379142856</c:v>
                </c:pt>
                <c:pt idx="11">
                  <c:v>36892.784669417139</c:v>
                </c:pt>
                <c:pt idx="12">
                  <c:v>65095.154784685714</c:v>
                </c:pt>
                <c:pt idx="13">
                  <c:v>108148.68976628572</c:v>
                </c:pt>
                <c:pt idx="14">
                  <c:v>177675.77835394282</c:v>
                </c:pt>
                <c:pt idx="15">
                  <c:v>287463.81401005713</c:v>
                </c:pt>
                <c:pt idx="16">
                  <c:v>439567.03870697139</c:v>
                </c:pt>
                <c:pt idx="17">
                  <c:v>632225.22881828563</c:v>
                </c:pt>
                <c:pt idx="18">
                  <c:v>869786.48230457143</c:v>
                </c:pt>
                <c:pt idx="19">
                  <c:v>1129174.4164782856</c:v>
                </c:pt>
                <c:pt idx="20">
                  <c:v>1390503.688044</c:v>
                </c:pt>
                <c:pt idx="21">
                  <c:v>1654871.4744634286</c:v>
                </c:pt>
                <c:pt idx="22">
                  <c:v>1909425.6018822859</c:v>
                </c:pt>
                <c:pt idx="23">
                  <c:v>2133208.8849891429</c:v>
                </c:pt>
                <c:pt idx="24">
                  <c:v>2333711.3996142857</c:v>
                </c:pt>
                <c:pt idx="25">
                  <c:v>2501744.5028828569</c:v>
                </c:pt>
                <c:pt idx="26">
                  <c:v>2617167.9643199998</c:v>
                </c:pt>
                <c:pt idx="27">
                  <c:v>2699790.2209885716</c:v>
                </c:pt>
                <c:pt idx="28">
                  <c:v>2767419.2853599996</c:v>
                </c:pt>
                <c:pt idx="29">
                  <c:v>2822907.5484600002</c:v>
                </c:pt>
                <c:pt idx="30">
                  <c:v>2870683.4622771433</c:v>
                </c:pt>
                <c:pt idx="31">
                  <c:v>2946704.37384</c:v>
                </c:pt>
                <c:pt idx="32">
                  <c:v>3027580.4636228574</c:v>
                </c:pt>
                <c:pt idx="33">
                  <c:v>3109997.2693714285</c:v>
                </c:pt>
                <c:pt idx="34">
                  <c:v>3189503.8487057141</c:v>
                </c:pt>
                <c:pt idx="35">
                  <c:v>3265918.5887399996</c:v>
                </c:pt>
                <c:pt idx="36">
                  <c:v>3325751.7145114285</c:v>
                </c:pt>
                <c:pt idx="37">
                  <c:v>3376286.0193428574</c:v>
                </c:pt>
                <c:pt idx="38">
                  <c:v>3435909.7811399996</c:v>
                </c:pt>
                <c:pt idx="39">
                  <c:v>3491402.0781771429</c:v>
                </c:pt>
                <c:pt idx="40">
                  <c:v>3548381.5607999996</c:v>
                </c:pt>
                <c:pt idx="41">
                  <c:v>3602735.2528799996</c:v>
                </c:pt>
                <c:pt idx="42">
                  <c:v>3641174.8466314278</c:v>
                </c:pt>
                <c:pt idx="43">
                  <c:v>3646674.6698657139</c:v>
                </c:pt>
                <c:pt idx="44">
                  <c:v>3645931.9307485712</c:v>
                </c:pt>
                <c:pt idx="45">
                  <c:v>3637513.2252685716</c:v>
                </c:pt>
                <c:pt idx="46">
                  <c:v>3601135.7751257145</c:v>
                </c:pt>
                <c:pt idx="47">
                  <c:v>3567590.1650571427</c:v>
                </c:pt>
                <c:pt idx="48">
                  <c:v>3540787.7153914282</c:v>
                </c:pt>
                <c:pt idx="49">
                  <c:v>3503640.4086685716</c:v>
                </c:pt>
                <c:pt idx="50">
                  <c:v>3449091.1688057147</c:v>
                </c:pt>
                <c:pt idx="51">
                  <c:v>3379917.4253828567</c:v>
                </c:pt>
                <c:pt idx="52">
                  <c:v>3276702.7530428572</c:v>
                </c:pt>
                <c:pt idx="53">
                  <c:v>3136727.9958514282</c:v>
                </c:pt>
                <c:pt idx="54">
                  <c:v>2964928.7234485708</c:v>
                </c:pt>
                <c:pt idx="55">
                  <c:v>2772230.3893285715</c:v>
                </c:pt>
                <c:pt idx="56">
                  <c:v>2570065.2820628574</c:v>
                </c:pt>
                <c:pt idx="57">
                  <c:v>2360095.4742085715</c:v>
                </c:pt>
                <c:pt idx="58">
                  <c:v>2145231.9024857143</c:v>
                </c:pt>
                <c:pt idx="59">
                  <c:v>1962141.9102771431</c:v>
                </c:pt>
                <c:pt idx="60">
                  <c:v>1793198.0939399996</c:v>
                </c:pt>
                <c:pt idx="61">
                  <c:v>1661091.30318</c:v>
                </c:pt>
                <c:pt idx="62">
                  <c:v>1548582.3065571429</c:v>
                </c:pt>
                <c:pt idx="63">
                  <c:v>1456875.6127542856</c:v>
                </c:pt>
                <c:pt idx="64">
                  <c:v>1361930.0998217142</c:v>
                </c:pt>
                <c:pt idx="65">
                  <c:v>1271296.1271351427</c:v>
                </c:pt>
                <c:pt idx="66">
                  <c:v>1168480.7858279999</c:v>
                </c:pt>
                <c:pt idx="67">
                  <c:v>1081699.0252011428</c:v>
                </c:pt>
                <c:pt idx="68">
                  <c:v>990213.47703942843</c:v>
                </c:pt>
                <c:pt idx="69">
                  <c:v>904991.57186142844</c:v>
                </c:pt>
                <c:pt idx="70">
                  <c:v>828000.3084711429</c:v>
                </c:pt>
                <c:pt idx="71">
                  <c:v>762000.81255771418</c:v>
                </c:pt>
                <c:pt idx="72">
                  <c:v>700195.77863314282</c:v>
                </c:pt>
                <c:pt idx="73">
                  <c:v>654174.42643542856</c:v>
                </c:pt>
                <c:pt idx="74">
                  <c:v>604702.93928485713</c:v>
                </c:pt>
                <c:pt idx="75">
                  <c:v>551810.56579885713</c:v>
                </c:pt>
                <c:pt idx="76">
                  <c:v>488981.37089657143</c:v>
                </c:pt>
                <c:pt idx="77">
                  <c:v>424575.63268971432</c:v>
                </c:pt>
                <c:pt idx="78">
                  <c:v>359301.84769285709</c:v>
                </c:pt>
                <c:pt idx="79">
                  <c:v>306437.9215688571</c:v>
                </c:pt>
                <c:pt idx="80">
                  <c:v>258135.4878522857</c:v>
                </c:pt>
                <c:pt idx="81">
                  <c:v>217058.62974257139</c:v>
                </c:pt>
                <c:pt idx="82">
                  <c:v>182931.7543844571</c:v>
                </c:pt>
                <c:pt idx="83">
                  <c:v>154109.14638797141</c:v>
                </c:pt>
                <c:pt idx="84">
                  <c:v>132574.72001514002</c:v>
                </c:pt>
                <c:pt idx="85">
                  <c:v>118098.54654738001</c:v>
                </c:pt>
                <c:pt idx="86">
                  <c:v>105253.075732704</c:v>
                </c:pt>
                <c:pt idx="87">
                  <c:v>91352.629355966565</c:v>
                </c:pt>
                <c:pt idx="88">
                  <c:v>79370.525138913421</c:v>
                </c:pt>
                <c:pt idx="89">
                  <c:v>65716.729850236312</c:v>
                </c:pt>
                <c:pt idx="90">
                  <c:v>54602.318886664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C5-DB47-AFFC-7F20F3544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1"/>
          <c:order val="1"/>
          <c:tx>
            <c:v>National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C5-DB47-AFFC-7F20F3544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800" b="1" i="0" baseline="0" dirty="0">
                <a:effectLst/>
              </a:rPr>
              <a:t>Total Fertility Rates vs Life Expectancy by Province, 2015</a:t>
            </a:r>
            <a:endParaRPr lang="id-ID" dirty="0">
              <a:effectLst/>
            </a:endParaRPr>
          </a:p>
        </c:rich>
      </c:tx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dPt>
            <c:idx val="13"/>
            <c:marker>
              <c:spPr>
                <a:solidFill>
                  <a:schemeClr val="accent2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292-8442-AE0A-54A55DC8A200}"/>
              </c:ext>
            </c:extLst>
          </c:dPt>
          <c:dPt>
            <c:idx val="18"/>
            <c:marker>
              <c:spPr>
                <a:solidFill>
                  <a:schemeClr val="accent2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292-8442-AE0A-54A55DC8A200}"/>
              </c:ext>
            </c:extLst>
          </c:dPt>
          <c:dPt>
            <c:idx val="29"/>
            <c:marker>
              <c:spPr>
                <a:solidFill>
                  <a:schemeClr val="accent2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292-8442-AE0A-54A55DC8A200}"/>
              </c:ext>
            </c:extLst>
          </c:dPt>
          <c:dLbls>
            <c:dLbl>
              <c:idx val="13"/>
              <c:layout>
                <c:manualLayout>
                  <c:x val="4.8750761730652044E-3"/>
                  <c:y val="-3.240740740740742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DI</a:t>
                    </a:r>
                    <a:r>
                      <a:rPr lang="en-US" baseline="0"/>
                      <a:t> Yogya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292-8442-AE0A-54A55DC8A200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r>
                      <a:rPr lang="en-US"/>
                      <a:t>NTT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292-8442-AE0A-54A55DC8A200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r>
                      <a:rPr lang="en-US"/>
                      <a:t>Sulbar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292-8442-AE0A-54A55DC8A2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lifetfr!$AE$4:$AE$37</c:f>
              <c:numCache>
                <c:formatCode>#,##0.00</c:formatCode>
                <c:ptCount val="34"/>
                <c:pt idx="0">
                  <c:v>2.6029</c:v>
                </c:pt>
                <c:pt idx="1">
                  <c:v>2.6107</c:v>
                </c:pt>
                <c:pt idx="2">
                  <c:v>2.5988000000000002</c:v>
                </c:pt>
                <c:pt idx="3">
                  <c:v>2.4895</c:v>
                </c:pt>
                <c:pt idx="4">
                  <c:v>2.2466999999999997</c:v>
                </c:pt>
                <c:pt idx="5">
                  <c:v>2.2281</c:v>
                </c:pt>
                <c:pt idx="6">
                  <c:v>2.2233000000000001</c:v>
                </c:pt>
                <c:pt idx="7">
                  <c:v>2.2778</c:v>
                </c:pt>
                <c:pt idx="8">
                  <c:v>2.2271000000000001</c:v>
                </c:pt>
                <c:pt idx="9">
                  <c:v>2.2083000000000004</c:v>
                </c:pt>
                <c:pt idx="10">
                  <c:v>1.8871</c:v>
                </c:pt>
                <c:pt idx="11">
                  <c:v>2.1166</c:v>
                </c:pt>
                <c:pt idx="12">
                  <c:v>2.0590000000000002</c:v>
                </c:pt>
                <c:pt idx="13">
                  <c:v>1.7365999999999999</c:v>
                </c:pt>
                <c:pt idx="14">
                  <c:v>1.7903</c:v>
                </c:pt>
                <c:pt idx="15">
                  <c:v>2.1646000000000001</c:v>
                </c:pt>
                <c:pt idx="16">
                  <c:v>1.9247999999999998</c:v>
                </c:pt>
                <c:pt idx="17">
                  <c:v>2.3913000000000002</c:v>
                </c:pt>
                <c:pt idx="18">
                  <c:v>2.8203</c:v>
                </c:pt>
                <c:pt idx="19">
                  <c:v>2.2303000000000002</c:v>
                </c:pt>
                <c:pt idx="20">
                  <c:v>2.1949999999999998</c:v>
                </c:pt>
                <c:pt idx="21">
                  <c:v>2.3350999999999997</c:v>
                </c:pt>
                <c:pt idx="22">
                  <c:v>2.5649999999999999</c:v>
                </c:pt>
                <c:pt idx="24">
                  <c:v>2.0901999999999998</c:v>
                </c:pt>
                <c:pt idx="25">
                  <c:v>2.2054</c:v>
                </c:pt>
                <c:pt idx="26">
                  <c:v>2.0913000000000004</c:v>
                </c:pt>
                <c:pt idx="27">
                  <c:v>2.6311</c:v>
                </c:pt>
                <c:pt idx="28">
                  <c:v>2.1258000000000004</c:v>
                </c:pt>
                <c:pt idx="29">
                  <c:v>2.6668000000000003</c:v>
                </c:pt>
                <c:pt idx="30">
                  <c:v>2.4678</c:v>
                </c:pt>
                <c:pt idx="31">
                  <c:v>2.5483000000000002</c:v>
                </c:pt>
                <c:pt idx="32">
                  <c:v>2.5596000000000001</c:v>
                </c:pt>
                <c:pt idx="33">
                  <c:v>2.5914999999999999</c:v>
                </c:pt>
              </c:numCache>
            </c:numRef>
          </c:xVal>
          <c:yVal>
            <c:numRef>
              <c:f>lifetfr!$AF$4:$AF$37</c:f>
              <c:numCache>
                <c:formatCode>General</c:formatCode>
                <c:ptCount val="34"/>
                <c:pt idx="0">
                  <c:v>69.5</c:v>
                </c:pt>
                <c:pt idx="1">
                  <c:v>68.290000000000006</c:v>
                </c:pt>
                <c:pt idx="2">
                  <c:v>68.66</c:v>
                </c:pt>
                <c:pt idx="3">
                  <c:v>70.930000000000007</c:v>
                </c:pt>
                <c:pt idx="4">
                  <c:v>70.56</c:v>
                </c:pt>
                <c:pt idx="5">
                  <c:v>69.14</c:v>
                </c:pt>
                <c:pt idx="6">
                  <c:v>68.5</c:v>
                </c:pt>
                <c:pt idx="7">
                  <c:v>69.900000000000006</c:v>
                </c:pt>
                <c:pt idx="8">
                  <c:v>69.88</c:v>
                </c:pt>
                <c:pt idx="9">
                  <c:v>69.41</c:v>
                </c:pt>
                <c:pt idx="10">
                  <c:v>72.430000000000007</c:v>
                </c:pt>
                <c:pt idx="11">
                  <c:v>72.41</c:v>
                </c:pt>
                <c:pt idx="12">
                  <c:v>73.959999999999994</c:v>
                </c:pt>
                <c:pt idx="13">
                  <c:v>74.680000000000007</c:v>
                </c:pt>
                <c:pt idx="14">
                  <c:v>70.680000000000007</c:v>
                </c:pt>
                <c:pt idx="15">
                  <c:v>69.430000000000007</c:v>
                </c:pt>
                <c:pt idx="16">
                  <c:v>71.349999999999994</c:v>
                </c:pt>
                <c:pt idx="17">
                  <c:v>65.38</c:v>
                </c:pt>
                <c:pt idx="18">
                  <c:v>65.959999999999994</c:v>
                </c:pt>
                <c:pt idx="19">
                  <c:v>69.87</c:v>
                </c:pt>
                <c:pt idx="20">
                  <c:v>69.540000000000006</c:v>
                </c:pt>
                <c:pt idx="21">
                  <c:v>67.8</c:v>
                </c:pt>
                <c:pt idx="22">
                  <c:v>73.650000000000006</c:v>
                </c:pt>
                <c:pt idx="23">
                  <c:v>72.16</c:v>
                </c:pt>
                <c:pt idx="24">
                  <c:v>70.989999999999995</c:v>
                </c:pt>
                <c:pt idx="25">
                  <c:v>67.260000000000005</c:v>
                </c:pt>
                <c:pt idx="26">
                  <c:v>69.8</c:v>
                </c:pt>
                <c:pt idx="27">
                  <c:v>70.44</c:v>
                </c:pt>
                <c:pt idx="28">
                  <c:v>67.12</c:v>
                </c:pt>
                <c:pt idx="29">
                  <c:v>64.22</c:v>
                </c:pt>
                <c:pt idx="30">
                  <c:v>65.31</c:v>
                </c:pt>
                <c:pt idx="31">
                  <c:v>67.44</c:v>
                </c:pt>
                <c:pt idx="32">
                  <c:v>65.19</c:v>
                </c:pt>
                <c:pt idx="33">
                  <c:v>65.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292-8442-AE0A-54A55DC8A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555200"/>
        <c:axId val="57565568"/>
      </c:scatterChart>
      <c:valAx>
        <c:axId val="57555200"/>
        <c:scaling>
          <c:orientation val="minMax"/>
          <c:max val="7.5"/>
          <c:min val="1.5"/>
        </c:scaling>
        <c:delete val="0"/>
        <c:axPos val="b"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 b="1" i="0" baseline="0" dirty="0">
                    <a:effectLst/>
                  </a:rPr>
                  <a:t>Total Fertility Rate</a:t>
                </a:r>
                <a:endParaRPr lang="id-ID" sz="1400" dirty="0">
                  <a:effectLst/>
                </a:endParaRPr>
              </a:p>
            </c:rich>
          </c:tx>
          <c:overlay val="0"/>
        </c:title>
        <c:numFmt formatCode="#,##0.00" sourceLinked="1"/>
        <c:majorTickMark val="none"/>
        <c:minorTickMark val="none"/>
        <c:tickLblPos val="nextTo"/>
        <c:crossAx val="57565568"/>
        <c:crosses val="autoZero"/>
        <c:crossBetween val="midCat"/>
      </c:valAx>
      <c:valAx>
        <c:axId val="57565568"/>
        <c:scaling>
          <c:orientation val="minMax"/>
          <c:max val="80"/>
          <c:min val="60"/>
        </c:scaling>
        <c:delete val="0"/>
        <c:axPos val="l"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 b="1" i="0" baseline="0" dirty="0">
                    <a:effectLst/>
                  </a:rPr>
                  <a:t>Life Expectancy (years)</a:t>
                </a:r>
                <a:endParaRPr lang="id-ID" sz="1400" dirty="0">
                  <a:effectLst/>
                </a:endParaRP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57555200"/>
        <c:crosses val="autoZero"/>
        <c:crossBetween val="midCat"/>
      </c:valAx>
    </c:plotArea>
    <c:plotVisOnly val="1"/>
    <c:dispBlanksAs val="gap"/>
    <c:showDLblsOverMax val="0"/>
  </c:chart>
  <c:spPr>
    <a:ln>
      <a:solidFill>
        <a:schemeClr val="accent5">
          <a:lumMod val="50000"/>
        </a:schemeClr>
      </a:solidFill>
    </a:ln>
  </c:sp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Nusa Tenggara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Nusa Tenggara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BZ$5:$BZ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3098.3556735599996</c:v>
                </c:pt>
                <c:pt idx="11">
                  <c:v>8349.8948877000003</c:v>
                </c:pt>
                <c:pt idx="12">
                  <c:v>17046.5686074</c:v>
                </c:pt>
                <c:pt idx="13">
                  <c:v>32277.093827700002</c:v>
                </c:pt>
                <c:pt idx="14">
                  <c:v>56197.756178399999</c:v>
                </c:pt>
                <c:pt idx="15">
                  <c:v>94925.731705800004</c:v>
                </c:pt>
                <c:pt idx="16">
                  <c:v>144330.30699000001</c:v>
                </c:pt>
                <c:pt idx="17">
                  <c:v>205877.31075299997</c:v>
                </c:pt>
                <c:pt idx="18">
                  <c:v>279024.44814300002</c:v>
                </c:pt>
                <c:pt idx="19">
                  <c:v>364501.94417399995</c:v>
                </c:pt>
                <c:pt idx="20">
                  <c:v>453914.23905600002</c:v>
                </c:pt>
                <c:pt idx="21">
                  <c:v>564930.94249799999</c:v>
                </c:pt>
                <c:pt idx="22">
                  <c:v>700435.81914599997</c:v>
                </c:pt>
                <c:pt idx="23">
                  <c:v>847544.7006959999</c:v>
                </c:pt>
                <c:pt idx="24">
                  <c:v>995938.99994999997</c:v>
                </c:pt>
                <c:pt idx="25">
                  <c:v>1152553.0508699999</c:v>
                </c:pt>
                <c:pt idx="26">
                  <c:v>1288557.3458399998</c:v>
                </c:pt>
                <c:pt idx="27">
                  <c:v>1386851.8785299999</c:v>
                </c:pt>
                <c:pt idx="28">
                  <c:v>1462619.5137899998</c:v>
                </c:pt>
                <c:pt idx="29">
                  <c:v>1527097.3037700001</c:v>
                </c:pt>
                <c:pt idx="30">
                  <c:v>1581449.4220199999</c:v>
                </c:pt>
                <c:pt idx="31">
                  <c:v>1632620.3257799998</c:v>
                </c:pt>
                <c:pt idx="32">
                  <c:v>1688606.25318</c:v>
                </c:pt>
                <c:pt idx="33">
                  <c:v>1768423.6334399998</c:v>
                </c:pt>
                <c:pt idx="34">
                  <c:v>1841246.5306500001</c:v>
                </c:pt>
                <c:pt idx="35">
                  <c:v>1897232.8778399997</c:v>
                </c:pt>
                <c:pt idx="36">
                  <c:v>1956843.2072099999</c:v>
                </c:pt>
                <c:pt idx="37">
                  <c:v>2007943.9389000002</c:v>
                </c:pt>
                <c:pt idx="38">
                  <c:v>2024132.9994300001</c:v>
                </c:pt>
                <c:pt idx="39">
                  <c:v>2038957.2008099998</c:v>
                </c:pt>
                <c:pt idx="40">
                  <c:v>2057241.7661700002</c:v>
                </c:pt>
                <c:pt idx="41">
                  <c:v>2066879.3012699997</c:v>
                </c:pt>
                <c:pt idx="42">
                  <c:v>2075374.4240999999</c:v>
                </c:pt>
                <c:pt idx="43">
                  <c:v>2084853.5284199999</c:v>
                </c:pt>
                <c:pt idx="44">
                  <c:v>2094556.5069299999</c:v>
                </c:pt>
                <c:pt idx="45">
                  <c:v>2091762.9414300001</c:v>
                </c:pt>
                <c:pt idx="46">
                  <c:v>2085177.0183599999</c:v>
                </c:pt>
                <c:pt idx="47">
                  <c:v>2076713.89353</c:v>
                </c:pt>
                <c:pt idx="48">
                  <c:v>2079067.6644299999</c:v>
                </c:pt>
                <c:pt idx="49">
                  <c:v>2059777.6998600001</c:v>
                </c:pt>
                <c:pt idx="50">
                  <c:v>2042166.5820900002</c:v>
                </c:pt>
                <c:pt idx="51">
                  <c:v>2016678.3631500001</c:v>
                </c:pt>
                <c:pt idx="52">
                  <c:v>1988857.9970100001</c:v>
                </c:pt>
                <c:pt idx="53">
                  <c:v>1916879.59488</c:v>
                </c:pt>
                <c:pt idx="54">
                  <c:v>1847716.64175</c:v>
                </c:pt>
                <c:pt idx="55">
                  <c:v>1756895.7850500001</c:v>
                </c:pt>
                <c:pt idx="56">
                  <c:v>1642750.4848199999</c:v>
                </c:pt>
                <c:pt idx="57">
                  <c:v>1496121.7446300001</c:v>
                </c:pt>
                <c:pt idx="58">
                  <c:v>1355417.8136399998</c:v>
                </c:pt>
                <c:pt idx="59">
                  <c:v>1183560.5235600001</c:v>
                </c:pt>
                <c:pt idx="60">
                  <c:v>1017848.1621600001</c:v>
                </c:pt>
                <c:pt idx="61">
                  <c:v>865815.12883499998</c:v>
                </c:pt>
                <c:pt idx="62">
                  <c:v>749223.39308099996</c:v>
                </c:pt>
                <c:pt idx="63">
                  <c:v>651257.63277000003</c:v>
                </c:pt>
                <c:pt idx="64">
                  <c:v>596403.25653599994</c:v>
                </c:pt>
                <c:pt idx="65">
                  <c:v>554843.77319699991</c:v>
                </c:pt>
                <c:pt idx="66">
                  <c:v>524471.0134709999</c:v>
                </c:pt>
                <c:pt idx="67">
                  <c:v>498019.12164599996</c:v>
                </c:pt>
                <c:pt idx="68">
                  <c:v>469527.83882099995</c:v>
                </c:pt>
                <c:pt idx="69">
                  <c:v>430654.051584</c:v>
                </c:pt>
                <c:pt idx="70">
                  <c:v>397061.48881499999</c:v>
                </c:pt>
                <c:pt idx="71">
                  <c:v>362295.92160599999</c:v>
                </c:pt>
                <c:pt idx="72">
                  <c:v>348433.55918399995</c:v>
                </c:pt>
                <c:pt idx="73">
                  <c:v>337037.24760599993</c:v>
                </c:pt>
                <c:pt idx="74">
                  <c:v>328604.51318100002</c:v>
                </c:pt>
                <c:pt idx="75">
                  <c:v>321329.41911599995</c:v>
                </c:pt>
                <c:pt idx="76">
                  <c:v>314799.03022800002</c:v>
                </c:pt>
                <c:pt idx="77">
                  <c:v>280691.82225600001</c:v>
                </c:pt>
                <c:pt idx="78">
                  <c:v>249139.011834</c:v>
                </c:pt>
                <c:pt idx="79">
                  <c:v>216690.11478899998</c:v>
                </c:pt>
                <c:pt idx="80">
                  <c:v>187664.52442799998</c:v>
                </c:pt>
                <c:pt idx="81">
                  <c:v>160060.10161199997</c:v>
                </c:pt>
                <c:pt idx="82">
                  <c:v>144181.25986200001</c:v>
                </c:pt>
                <c:pt idx="83">
                  <c:v>132090.775314</c:v>
                </c:pt>
                <c:pt idx="84">
                  <c:v>123203.18795099999</c:v>
                </c:pt>
                <c:pt idx="85">
                  <c:v>107829.937026</c:v>
                </c:pt>
                <c:pt idx="86">
                  <c:v>96831.758915999992</c:v>
                </c:pt>
                <c:pt idx="87">
                  <c:v>79856.008979999999</c:v>
                </c:pt>
                <c:pt idx="88">
                  <c:v>62707.451178899995</c:v>
                </c:pt>
                <c:pt idx="89">
                  <c:v>46056.715849799992</c:v>
                </c:pt>
                <c:pt idx="90">
                  <c:v>37479.64761020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E9-D44D-AD51-C1176053C6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1"/>
          <c:order val="1"/>
          <c:tx>
            <c:v>National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E9-D44D-AD51-C1176053C6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Kalimantan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Kalimantan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A$5:$CA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3063.3590399999998</c:v>
                </c:pt>
                <c:pt idx="11">
                  <c:v>23074.097891999998</c:v>
                </c:pt>
                <c:pt idx="12">
                  <c:v>42985.089732</c:v>
                </c:pt>
                <c:pt idx="13">
                  <c:v>80565.064373999994</c:v>
                </c:pt>
                <c:pt idx="14">
                  <c:v>149887.65594</c:v>
                </c:pt>
                <c:pt idx="15">
                  <c:v>272110.64804399997</c:v>
                </c:pt>
                <c:pt idx="16">
                  <c:v>459483.92172599997</c:v>
                </c:pt>
                <c:pt idx="17">
                  <c:v>706749.87958199997</c:v>
                </c:pt>
                <c:pt idx="18">
                  <c:v>1003840.789158</c:v>
                </c:pt>
                <c:pt idx="19">
                  <c:v>1331629.4491049999</c:v>
                </c:pt>
                <c:pt idx="20">
                  <c:v>1652156.1598200002</c:v>
                </c:pt>
                <c:pt idx="21">
                  <c:v>1930379.3567850001</c:v>
                </c:pt>
                <c:pt idx="22">
                  <c:v>2165084.0111849997</c:v>
                </c:pt>
                <c:pt idx="23">
                  <c:v>2375683.065345</c:v>
                </c:pt>
                <c:pt idx="24">
                  <c:v>2549592.1942199999</c:v>
                </c:pt>
                <c:pt idx="25">
                  <c:v>2685106.5415049996</c:v>
                </c:pt>
                <c:pt idx="26">
                  <c:v>2801867.0941199996</c:v>
                </c:pt>
                <c:pt idx="27">
                  <c:v>2919989.90778</c:v>
                </c:pt>
                <c:pt idx="28">
                  <c:v>3007212.2500649998</c:v>
                </c:pt>
                <c:pt idx="29">
                  <c:v>3105078.2851499999</c:v>
                </c:pt>
                <c:pt idx="30">
                  <c:v>3199250.3139450001</c:v>
                </c:pt>
                <c:pt idx="31">
                  <c:v>3282737.8546500001</c:v>
                </c:pt>
                <c:pt idx="32">
                  <c:v>3349331.5108650001</c:v>
                </c:pt>
                <c:pt idx="33">
                  <c:v>3406712.0115899998</c:v>
                </c:pt>
                <c:pt idx="34">
                  <c:v>3435231.6309749996</c:v>
                </c:pt>
                <c:pt idx="35">
                  <c:v>3464795.8552050004</c:v>
                </c:pt>
                <c:pt idx="36">
                  <c:v>3500087.33757</c:v>
                </c:pt>
                <c:pt idx="37">
                  <c:v>3551231.4224549998</c:v>
                </c:pt>
                <c:pt idx="38">
                  <c:v>3612772.6697849999</c:v>
                </c:pt>
                <c:pt idx="39">
                  <c:v>3676711.1009999998</c:v>
                </c:pt>
                <c:pt idx="40">
                  <c:v>3743769.138975</c:v>
                </c:pt>
                <c:pt idx="41">
                  <c:v>3802805.7008999996</c:v>
                </c:pt>
                <c:pt idx="42">
                  <c:v>3833840.3061599997</c:v>
                </c:pt>
                <c:pt idx="43">
                  <c:v>3849664.1598299993</c:v>
                </c:pt>
                <c:pt idx="44">
                  <c:v>3875991.7650599997</c:v>
                </c:pt>
                <c:pt idx="45">
                  <c:v>3882042.4444200001</c:v>
                </c:pt>
                <c:pt idx="46">
                  <c:v>3870859.1778449998</c:v>
                </c:pt>
                <c:pt idx="47">
                  <c:v>3854902.5609599994</c:v>
                </c:pt>
                <c:pt idx="48">
                  <c:v>3817649.1658049999</c:v>
                </c:pt>
                <c:pt idx="49">
                  <c:v>3747456.8246699995</c:v>
                </c:pt>
                <c:pt idx="50">
                  <c:v>3659488.7010149998</c:v>
                </c:pt>
                <c:pt idx="51">
                  <c:v>3571999.497645</c:v>
                </c:pt>
                <c:pt idx="52">
                  <c:v>3473910.8391</c:v>
                </c:pt>
                <c:pt idx="53">
                  <c:v>3358371.6496799998</c:v>
                </c:pt>
                <c:pt idx="54">
                  <c:v>3219581.6405849997</c:v>
                </c:pt>
                <c:pt idx="55">
                  <c:v>3086391.5183099997</c:v>
                </c:pt>
                <c:pt idx="56">
                  <c:v>2914756.1688599996</c:v>
                </c:pt>
                <c:pt idx="57">
                  <c:v>2718152.9110199995</c:v>
                </c:pt>
                <c:pt idx="58">
                  <c:v>2521082.8704150002</c:v>
                </c:pt>
                <c:pt idx="59">
                  <c:v>2349957.3932099999</c:v>
                </c:pt>
                <c:pt idx="60">
                  <c:v>2108377.6757100001</c:v>
                </c:pt>
                <c:pt idx="61">
                  <c:v>1886014.9813049999</c:v>
                </c:pt>
                <c:pt idx="62">
                  <c:v>1689298.7483250001</c:v>
                </c:pt>
                <c:pt idx="63">
                  <c:v>1509091.4803304998</c:v>
                </c:pt>
                <c:pt idx="64">
                  <c:v>1335457.2856350001</c:v>
                </c:pt>
                <c:pt idx="65">
                  <c:v>1240860.9833775</c:v>
                </c:pt>
                <c:pt idx="66">
                  <c:v>1156696.510239</c:v>
                </c:pt>
                <c:pt idx="67">
                  <c:v>1092669.3571514999</c:v>
                </c:pt>
                <c:pt idx="68">
                  <c:v>1030576.0120275</c:v>
                </c:pt>
                <c:pt idx="69">
                  <c:v>980181.33937049983</c:v>
                </c:pt>
                <c:pt idx="70">
                  <c:v>896849.42650349985</c:v>
                </c:pt>
                <c:pt idx="71">
                  <c:v>812131.92245399987</c:v>
                </c:pt>
                <c:pt idx="72">
                  <c:v>722287.26560849999</c:v>
                </c:pt>
                <c:pt idx="73">
                  <c:v>641450.76797399996</c:v>
                </c:pt>
                <c:pt idx="74">
                  <c:v>570668.71035179996</c:v>
                </c:pt>
                <c:pt idx="75">
                  <c:v>531047.98289444996</c:v>
                </c:pt>
                <c:pt idx="76">
                  <c:v>497062.33711274998</c:v>
                </c:pt>
                <c:pt idx="77">
                  <c:v>470644.06733849994</c:v>
                </c:pt>
                <c:pt idx="78">
                  <c:v>446550.51436307997</c:v>
                </c:pt>
                <c:pt idx="79">
                  <c:v>422367.82919075998</c:v>
                </c:pt>
                <c:pt idx="80">
                  <c:v>383941.67770911002</c:v>
                </c:pt>
                <c:pt idx="81">
                  <c:v>336956.00617750495</c:v>
                </c:pt>
                <c:pt idx="82">
                  <c:v>289262.64848041499</c:v>
                </c:pt>
                <c:pt idx="83">
                  <c:v>242855.94890636249</c:v>
                </c:pt>
                <c:pt idx="84">
                  <c:v>201707.23405696196</c:v>
                </c:pt>
                <c:pt idx="85">
                  <c:v>172337.43424535097</c:v>
                </c:pt>
                <c:pt idx="86">
                  <c:v>135507.34857509998</c:v>
                </c:pt>
                <c:pt idx="87">
                  <c:v>106645.57042904999</c:v>
                </c:pt>
                <c:pt idx="88">
                  <c:v>83621.631166199993</c:v>
                </c:pt>
                <c:pt idx="89">
                  <c:v>64111.054336200003</c:v>
                </c:pt>
                <c:pt idx="90">
                  <c:v>44500.2643351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96-614D-9A3D-E9C98FF3A6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1"/>
          <c:order val="1"/>
          <c:tx>
            <c:v>National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96-614D-9A3D-E9C98FF3A6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Sulawesi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v>National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8-FC41-97F6-5E7C15907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0"/>
          <c:order val="0"/>
          <c:tx>
            <c:v>Sulawesi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B$5:$CB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6033.95356</c:v>
                </c:pt>
                <c:pt idx="10">
                  <c:v>35886.725058399992</c:v>
                </c:pt>
                <c:pt idx="11">
                  <c:v>59704.998907800007</c:v>
                </c:pt>
                <c:pt idx="12">
                  <c:v>89209.544496799994</c:v>
                </c:pt>
                <c:pt idx="13">
                  <c:v>131036.18692599999</c:v>
                </c:pt>
                <c:pt idx="14">
                  <c:v>195207.44425299999</c:v>
                </c:pt>
                <c:pt idx="15">
                  <c:v>293381.46895799995</c:v>
                </c:pt>
                <c:pt idx="16">
                  <c:v>411433.97893799999</c:v>
                </c:pt>
                <c:pt idx="17">
                  <c:v>552819.71569600003</c:v>
                </c:pt>
                <c:pt idx="18">
                  <c:v>715913.26223200001</c:v>
                </c:pt>
                <c:pt idx="19">
                  <c:v>884571.42703999986</c:v>
                </c:pt>
                <c:pt idx="20">
                  <c:v>1041710.1579999999</c:v>
                </c:pt>
                <c:pt idx="21">
                  <c:v>1203969.6317499999</c:v>
                </c:pt>
                <c:pt idx="22">
                  <c:v>1368533.1625100002</c:v>
                </c:pt>
                <c:pt idx="23">
                  <c:v>1524353.6113799997</c:v>
                </c:pt>
                <c:pt idx="24">
                  <c:v>1665062.2718700001</c:v>
                </c:pt>
                <c:pt idx="25">
                  <c:v>1783547.2644400001</c:v>
                </c:pt>
                <c:pt idx="26">
                  <c:v>1880342.1354199999</c:v>
                </c:pt>
                <c:pt idx="27">
                  <c:v>1949035.6584099999</c:v>
                </c:pt>
                <c:pt idx="28">
                  <c:v>1994837.6969999999</c:v>
                </c:pt>
                <c:pt idx="29">
                  <c:v>2029656.5218000002</c:v>
                </c:pt>
                <c:pt idx="30">
                  <c:v>2080364.9543199998</c:v>
                </c:pt>
                <c:pt idx="31">
                  <c:v>2122626.9173500002</c:v>
                </c:pt>
                <c:pt idx="32">
                  <c:v>2169026.6839200002</c:v>
                </c:pt>
                <c:pt idx="33">
                  <c:v>2222864.3256399999</c:v>
                </c:pt>
                <c:pt idx="34">
                  <c:v>2277441.3835700001</c:v>
                </c:pt>
                <c:pt idx="35">
                  <c:v>2329156.1128599998</c:v>
                </c:pt>
                <c:pt idx="36">
                  <c:v>2388635.3829299998</c:v>
                </c:pt>
                <c:pt idx="37">
                  <c:v>2439595.2771900003</c:v>
                </c:pt>
                <c:pt idx="38">
                  <c:v>2489486.9557699999</c:v>
                </c:pt>
                <c:pt idx="39">
                  <c:v>2537155.5010899999</c:v>
                </c:pt>
                <c:pt idx="40">
                  <c:v>2583968.9126900001</c:v>
                </c:pt>
                <c:pt idx="41">
                  <c:v>2639995.6064000004</c:v>
                </c:pt>
                <c:pt idx="42">
                  <c:v>2698223.2526500002</c:v>
                </c:pt>
                <c:pt idx="43">
                  <c:v>2764293.0218400001</c:v>
                </c:pt>
                <c:pt idx="44">
                  <c:v>2821878.8351699994</c:v>
                </c:pt>
                <c:pt idx="45">
                  <c:v>2853045.2471299996</c:v>
                </c:pt>
                <c:pt idx="46">
                  <c:v>2856349.4761399999</c:v>
                </c:pt>
                <c:pt idx="47">
                  <c:v>2843866.7502599997</c:v>
                </c:pt>
                <c:pt idx="48">
                  <c:v>2805981.3573100003</c:v>
                </c:pt>
                <c:pt idx="49">
                  <c:v>2763155.3782500005</c:v>
                </c:pt>
                <c:pt idx="50">
                  <c:v>2725090.6412999998</c:v>
                </c:pt>
                <c:pt idx="51">
                  <c:v>2661835.3783299997</c:v>
                </c:pt>
                <c:pt idx="52">
                  <c:v>2573402.5122400001</c:v>
                </c:pt>
                <c:pt idx="53">
                  <c:v>2452148.2577999998</c:v>
                </c:pt>
                <c:pt idx="54">
                  <c:v>2297246.6817800002</c:v>
                </c:pt>
                <c:pt idx="55">
                  <c:v>2119961.7582799997</c:v>
                </c:pt>
                <c:pt idx="56">
                  <c:v>1924707.6298700001</c:v>
                </c:pt>
                <c:pt idx="57">
                  <c:v>1729234.1404800003</c:v>
                </c:pt>
                <c:pt idx="58">
                  <c:v>1541621.4468399996</c:v>
                </c:pt>
                <c:pt idx="59">
                  <c:v>1372133.6820799999</c:v>
                </c:pt>
                <c:pt idx="60">
                  <c:v>1202534.081093</c:v>
                </c:pt>
                <c:pt idx="61">
                  <c:v>1072861.829292</c:v>
                </c:pt>
                <c:pt idx="62">
                  <c:v>958905.38191400003</c:v>
                </c:pt>
                <c:pt idx="63">
                  <c:v>869657.09253200004</c:v>
                </c:pt>
                <c:pt idx="64">
                  <c:v>785765.04029419983</c:v>
                </c:pt>
                <c:pt idx="65">
                  <c:v>723010.60497900005</c:v>
                </c:pt>
                <c:pt idx="66">
                  <c:v>663389.01860800001</c:v>
                </c:pt>
                <c:pt idx="67">
                  <c:v>611740.16418999992</c:v>
                </c:pt>
                <c:pt idx="68">
                  <c:v>563187.666187</c:v>
                </c:pt>
                <c:pt idx="69">
                  <c:v>518764.84843599988</c:v>
                </c:pt>
                <c:pt idx="70">
                  <c:v>481552.65858900006</c:v>
                </c:pt>
                <c:pt idx="71">
                  <c:v>444323.41945499997</c:v>
                </c:pt>
                <c:pt idx="72">
                  <c:v>405775.63129809994</c:v>
                </c:pt>
                <c:pt idx="73">
                  <c:v>364465.6624949</c:v>
                </c:pt>
                <c:pt idx="74">
                  <c:v>333735.89049970004</c:v>
                </c:pt>
                <c:pt idx="75">
                  <c:v>307067.18002630002</c:v>
                </c:pt>
                <c:pt idx="76">
                  <c:v>283565.52580269997</c:v>
                </c:pt>
                <c:pt idx="77">
                  <c:v>264296.14938710001</c:v>
                </c:pt>
                <c:pt idx="78">
                  <c:v>246877.25150790004</c:v>
                </c:pt>
                <c:pt idx="79">
                  <c:v>224971.35218524994</c:v>
                </c:pt>
                <c:pt idx="80">
                  <c:v>205565.18724749997</c:v>
                </c:pt>
                <c:pt idx="81">
                  <c:v>186277.07363143002</c:v>
                </c:pt>
                <c:pt idx="82">
                  <c:v>165559.07777424</c:v>
                </c:pt>
                <c:pt idx="83">
                  <c:v>147904.23579364101</c:v>
                </c:pt>
                <c:pt idx="84">
                  <c:v>129984.74390311098</c:v>
                </c:pt>
                <c:pt idx="85">
                  <c:v>114307.71434549599</c:v>
                </c:pt>
                <c:pt idx="86">
                  <c:v>100085.33317618001</c:v>
                </c:pt>
                <c:pt idx="87">
                  <c:v>85425.441352127993</c:v>
                </c:pt>
                <c:pt idx="88">
                  <c:v>72960.745120399995</c:v>
                </c:pt>
                <c:pt idx="89">
                  <c:v>63071.631477999996</c:v>
                </c:pt>
                <c:pt idx="90">
                  <c:v>53039.712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08-FC41-97F6-5E7C15907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 Income, Maluku-Papua, 201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v>National</c:v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D$5:$CD$95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1200.561965616025</c:v>
                </c:pt>
                <c:pt idx="11">
                  <c:v>17764.746076878993</c:v>
                </c:pt>
                <c:pt idx="12">
                  <c:v>29928.086904080385</c:v>
                </c:pt>
                <c:pt idx="13">
                  <c:v>51383.986626947495</c:v>
                </c:pt>
                <c:pt idx="14">
                  <c:v>93110.364564011499</c:v>
                </c:pt>
                <c:pt idx="15">
                  <c:v>166969.49022532019</c:v>
                </c:pt>
                <c:pt idx="16">
                  <c:v>277777.06473532761</c:v>
                </c:pt>
                <c:pt idx="17">
                  <c:v>426816.61291165341</c:v>
                </c:pt>
                <c:pt idx="18">
                  <c:v>612096.41089931026</c:v>
                </c:pt>
                <c:pt idx="19">
                  <c:v>822436.0410791809</c:v>
                </c:pt>
                <c:pt idx="20">
                  <c:v>1037964.9879404603</c:v>
                </c:pt>
                <c:pt idx="21">
                  <c:v>1250249.7928692689</c:v>
                </c:pt>
                <c:pt idx="22">
                  <c:v>1454567.0631311846</c:v>
                </c:pt>
                <c:pt idx="23">
                  <c:v>1645015.7091177294</c:v>
                </c:pt>
                <c:pt idx="24">
                  <c:v>1819012.4156932945</c:v>
                </c:pt>
                <c:pt idx="25">
                  <c:v>1975900.2112511944</c:v>
                </c:pt>
                <c:pt idx="26">
                  <c:v>2104414.4514293266</c:v>
                </c:pt>
                <c:pt idx="27">
                  <c:v>2212664.5592926661</c:v>
                </c:pt>
                <c:pt idx="28">
                  <c:v>2297833.5238403804</c:v>
                </c:pt>
                <c:pt idx="29">
                  <c:v>2368170.4173574951</c:v>
                </c:pt>
                <c:pt idx="30">
                  <c:v>2428734.2429226469</c:v>
                </c:pt>
                <c:pt idx="31">
                  <c:v>2496368.7259116615</c:v>
                </c:pt>
                <c:pt idx="32">
                  <c:v>2558614.7955142553</c:v>
                </c:pt>
                <c:pt idx="33">
                  <c:v>2628176.8231420531</c:v>
                </c:pt>
                <c:pt idx="34">
                  <c:v>2693789.2187910341</c:v>
                </c:pt>
                <c:pt idx="35">
                  <c:v>2755625.3738078377</c:v>
                </c:pt>
                <c:pt idx="36">
                  <c:v>2803529.3445644067</c:v>
                </c:pt>
                <c:pt idx="37">
                  <c:v>2853007.1360397064</c:v>
                </c:pt>
                <c:pt idx="38">
                  <c:v>2897469.8339277864</c:v>
                </c:pt>
                <c:pt idx="39">
                  <c:v>2940644.1786582</c:v>
                </c:pt>
                <c:pt idx="40">
                  <c:v>2989773.5996223125</c:v>
                </c:pt>
                <c:pt idx="41">
                  <c:v>3053745.1628640126</c:v>
                </c:pt>
                <c:pt idx="42">
                  <c:v>3103181.4992348109</c:v>
                </c:pt>
                <c:pt idx="43">
                  <c:v>3142433.0594203509</c:v>
                </c:pt>
                <c:pt idx="44">
                  <c:v>3186611.3445133283</c:v>
                </c:pt>
                <c:pt idx="45">
                  <c:v>3217728.7095762677</c:v>
                </c:pt>
                <c:pt idx="46">
                  <c:v>3224062.183157505</c:v>
                </c:pt>
                <c:pt idx="47">
                  <c:v>3239962.3965035104</c:v>
                </c:pt>
                <c:pt idx="48">
                  <c:v>3251616.4366539936</c:v>
                </c:pt>
                <c:pt idx="49">
                  <c:v>3229802.7187251947</c:v>
                </c:pt>
                <c:pt idx="50">
                  <c:v>3185800.348099465</c:v>
                </c:pt>
                <c:pt idx="51">
                  <c:v>3135108.1626342572</c:v>
                </c:pt>
                <c:pt idx="52">
                  <c:v>3037427.6877030595</c:v>
                </c:pt>
                <c:pt idx="53">
                  <c:v>2905313.4755872972</c:v>
                </c:pt>
                <c:pt idx="54">
                  <c:v>2746991.9342614319</c:v>
                </c:pt>
                <c:pt idx="55">
                  <c:v>2578469.3167055445</c:v>
                </c:pt>
                <c:pt idx="56">
                  <c:v>2374395.4219183917</c:v>
                </c:pt>
                <c:pt idx="57">
                  <c:v>2167784.2665336602</c:v>
                </c:pt>
                <c:pt idx="58">
                  <c:v>1958612.5432374449</c:v>
                </c:pt>
                <c:pt idx="59">
                  <c:v>1764120.5994181025</c:v>
                </c:pt>
                <c:pt idx="60">
                  <c:v>1564224.7110885291</c:v>
                </c:pt>
                <c:pt idx="61">
                  <c:v>1394831.8949692941</c:v>
                </c:pt>
                <c:pt idx="62">
                  <c:v>1252757.1888729164</c:v>
                </c:pt>
                <c:pt idx="63">
                  <c:v>1138254.2759228663</c:v>
                </c:pt>
                <c:pt idx="64">
                  <c:v>1045838.9836875015</c:v>
                </c:pt>
                <c:pt idx="65">
                  <c:v>982338.1612608874</c:v>
                </c:pt>
                <c:pt idx="66">
                  <c:v>932580.0190484859</c:v>
                </c:pt>
                <c:pt idx="67">
                  <c:v>885212.83239641786</c:v>
                </c:pt>
                <c:pt idx="68">
                  <c:v>837491.5511984732</c:v>
                </c:pt>
                <c:pt idx="69">
                  <c:v>785618.9067448898</c:v>
                </c:pt>
                <c:pt idx="70">
                  <c:v>722772.12201809045</c:v>
                </c:pt>
                <c:pt idx="71">
                  <c:v>652461.72493821627</c:v>
                </c:pt>
                <c:pt idx="72">
                  <c:v>589948.01677826908</c:v>
                </c:pt>
                <c:pt idx="73">
                  <c:v>529181.06956648431</c:v>
                </c:pt>
                <c:pt idx="74">
                  <c:v>476047.08940374758</c:v>
                </c:pt>
                <c:pt idx="75">
                  <c:v>437530.31248098408</c:v>
                </c:pt>
                <c:pt idx="76">
                  <c:v>402638.36310850084</c:v>
                </c:pt>
                <c:pt idx="77">
                  <c:v>362887.74546216516</c:v>
                </c:pt>
                <c:pt idx="78">
                  <c:v>329880.7129274201</c:v>
                </c:pt>
                <c:pt idx="79">
                  <c:v>297759.47510554455</c:v>
                </c:pt>
                <c:pt idx="80">
                  <c:v>262226.04361437442</c:v>
                </c:pt>
                <c:pt idx="81">
                  <c:v>232410.43560919215</c:v>
                </c:pt>
                <c:pt idx="82">
                  <c:v>209471.16272861304</c:v>
                </c:pt>
                <c:pt idx="83">
                  <c:v>187215.28418302373</c:v>
                </c:pt>
                <c:pt idx="84">
                  <c:v>164972.579491162</c:v>
                </c:pt>
                <c:pt idx="85">
                  <c:v>145099.27629900767</c:v>
                </c:pt>
                <c:pt idx="86">
                  <c:v>122832.44917186622</c:v>
                </c:pt>
                <c:pt idx="87">
                  <c:v>106290.42836823898</c:v>
                </c:pt>
                <c:pt idx="88">
                  <c:v>100342.93956446518</c:v>
                </c:pt>
                <c:pt idx="89">
                  <c:v>95448.731247405463</c:v>
                </c:pt>
                <c:pt idx="90">
                  <c:v>90554.522930345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5E-3344-A347-75C5839268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312508752"/>
        <c:axId val="1247608288"/>
      </c:barChart>
      <c:lineChart>
        <c:grouping val="standard"/>
        <c:varyColors val="0"/>
        <c:ser>
          <c:idx val="0"/>
          <c:order val="0"/>
          <c:tx>
            <c:v>Maluku-Papua</c:v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aborincome!$A$5:$A$95</c:f>
              <c:numCache>
                <c:formatCode>General</c:formatCode>
                <c:ptCount val="9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</c:numCache>
            </c:numRef>
          </c:cat>
          <c:val>
            <c:numRef>
              <c:f>laborincome!$CC$5:$CC$95</c:f>
              <c:numCache>
                <c:formatCode>#,##0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398.7465200000001</c:v>
                </c:pt>
                <c:pt idx="11">
                  <c:v>13981.092589199998</c:v>
                </c:pt>
                <c:pt idx="12">
                  <c:v>23430.509758200002</c:v>
                </c:pt>
                <c:pt idx="13">
                  <c:v>38684.701298849992</c:v>
                </c:pt>
                <c:pt idx="14">
                  <c:v>70709.106697799987</c:v>
                </c:pt>
                <c:pt idx="15">
                  <c:v>126858.12543300001</c:v>
                </c:pt>
                <c:pt idx="16">
                  <c:v>215138.67064649999</c:v>
                </c:pt>
                <c:pt idx="17">
                  <c:v>333196.35296549997</c:v>
                </c:pt>
                <c:pt idx="18">
                  <c:v>485574.61094100005</c:v>
                </c:pt>
                <c:pt idx="19">
                  <c:v>660345.06370200007</c:v>
                </c:pt>
                <c:pt idx="20">
                  <c:v>846347.13705899997</c:v>
                </c:pt>
                <c:pt idx="21">
                  <c:v>1042132.8712950001</c:v>
                </c:pt>
                <c:pt idx="22">
                  <c:v>1242122.09253</c:v>
                </c:pt>
                <c:pt idx="23">
                  <c:v>1436287.8571500001</c:v>
                </c:pt>
                <c:pt idx="24">
                  <c:v>1631904.91335</c:v>
                </c:pt>
                <c:pt idx="25">
                  <c:v>1821864.3030900001</c:v>
                </c:pt>
                <c:pt idx="26">
                  <c:v>1977944.7508349998</c:v>
                </c:pt>
                <c:pt idx="27">
                  <c:v>2106318.9377700002</c:v>
                </c:pt>
                <c:pt idx="28">
                  <c:v>2206713.2415149999</c:v>
                </c:pt>
                <c:pt idx="29">
                  <c:v>2285347.3018649998</c:v>
                </c:pt>
                <c:pt idx="30">
                  <c:v>2340584.7987749996</c:v>
                </c:pt>
                <c:pt idx="31">
                  <c:v>2414526.936855</c:v>
                </c:pt>
                <c:pt idx="32">
                  <c:v>2492718.949095</c:v>
                </c:pt>
                <c:pt idx="33">
                  <c:v>2585728.7369399997</c:v>
                </c:pt>
                <c:pt idx="34">
                  <c:v>2676447.7068149997</c:v>
                </c:pt>
                <c:pt idx="35">
                  <c:v>2781732.6267600004</c:v>
                </c:pt>
                <c:pt idx="36">
                  <c:v>2867885.6578500001</c:v>
                </c:pt>
                <c:pt idx="37">
                  <c:v>2951316.2323949998</c:v>
                </c:pt>
                <c:pt idx="38">
                  <c:v>3010986.0442349999</c:v>
                </c:pt>
                <c:pt idx="39">
                  <c:v>3063352.4815199999</c:v>
                </c:pt>
                <c:pt idx="40">
                  <c:v>3101263.6528949998</c:v>
                </c:pt>
                <c:pt idx="41">
                  <c:v>3155116.8352800002</c:v>
                </c:pt>
                <c:pt idx="42">
                  <c:v>3196046.8723050002</c:v>
                </c:pt>
                <c:pt idx="43">
                  <c:v>3243306.1042649997</c:v>
                </c:pt>
                <c:pt idx="44">
                  <c:v>3275191.672305</c:v>
                </c:pt>
                <c:pt idx="45">
                  <c:v>3307379.4637200003</c:v>
                </c:pt>
                <c:pt idx="46">
                  <c:v>3303161.0416649999</c:v>
                </c:pt>
                <c:pt idx="47">
                  <c:v>3297212.1737700002</c:v>
                </c:pt>
                <c:pt idx="48">
                  <c:v>3272818.8824399998</c:v>
                </c:pt>
                <c:pt idx="49">
                  <c:v>3255789.3213749998</c:v>
                </c:pt>
                <c:pt idx="50">
                  <c:v>3196898.9616299998</c:v>
                </c:pt>
                <c:pt idx="51">
                  <c:v>3147482.7799650002</c:v>
                </c:pt>
                <c:pt idx="52">
                  <c:v>3064718.8843350001</c:v>
                </c:pt>
                <c:pt idx="53">
                  <c:v>3002404.25691</c:v>
                </c:pt>
                <c:pt idx="54">
                  <c:v>2882677.5375600001</c:v>
                </c:pt>
                <c:pt idx="55">
                  <c:v>2773783.8958049999</c:v>
                </c:pt>
                <c:pt idx="56">
                  <c:v>2619396.0865349998</c:v>
                </c:pt>
                <c:pt idx="57">
                  <c:v>2474681.1003299998</c:v>
                </c:pt>
                <c:pt idx="58">
                  <c:v>2282061.4511849997</c:v>
                </c:pt>
                <c:pt idx="59">
                  <c:v>2126518.9876349997</c:v>
                </c:pt>
                <c:pt idx="60">
                  <c:v>1967174.6275499999</c:v>
                </c:pt>
                <c:pt idx="61">
                  <c:v>1847142.622398</c:v>
                </c:pt>
                <c:pt idx="62">
                  <c:v>1716885.2649659999</c:v>
                </c:pt>
                <c:pt idx="63">
                  <c:v>1628615.5565954999</c:v>
                </c:pt>
                <c:pt idx="64">
                  <c:v>1536686.162241</c:v>
                </c:pt>
                <c:pt idx="65">
                  <c:v>1441089.3760784999</c:v>
                </c:pt>
                <c:pt idx="66">
                  <c:v>1336966.0694235</c:v>
                </c:pt>
                <c:pt idx="67">
                  <c:v>1235479.7642039999</c:v>
                </c:pt>
                <c:pt idx="68">
                  <c:v>1110163.117695</c:v>
                </c:pt>
                <c:pt idx="69">
                  <c:v>1031833.5315449999</c:v>
                </c:pt>
                <c:pt idx="70">
                  <c:v>958526.67748499999</c:v>
                </c:pt>
                <c:pt idx="71">
                  <c:v>903013.6961249999</c:v>
                </c:pt>
                <c:pt idx="72">
                  <c:v>849274.74881999998</c:v>
                </c:pt>
                <c:pt idx="73">
                  <c:v>815414.33920500008</c:v>
                </c:pt>
                <c:pt idx="74">
                  <c:v>702473.06389499991</c:v>
                </c:pt>
                <c:pt idx="75">
                  <c:v>606441.4408199999</c:v>
                </c:pt>
                <c:pt idx="76">
                  <c:v>496548.87203999993</c:v>
                </c:pt>
                <c:pt idx="77">
                  <c:v>393572.475225</c:v>
                </c:pt>
                <c:pt idx="78">
                  <c:v>294430.61261099996</c:v>
                </c:pt>
                <c:pt idx="79">
                  <c:v>252483.21496199997</c:v>
                </c:pt>
                <c:pt idx="80">
                  <c:v>218956.610763</c:v>
                </c:pt>
                <c:pt idx="81">
                  <c:v>203030.32421250001</c:v>
                </c:pt>
                <c:pt idx="82">
                  <c:v>188246.3173395</c:v>
                </c:pt>
                <c:pt idx="83">
                  <c:v>181496.79300900002</c:v>
                </c:pt>
                <c:pt idx="84">
                  <c:v>166540.27097099999</c:v>
                </c:pt>
                <c:pt idx="85">
                  <c:v>140488.15475699998</c:v>
                </c:pt>
                <c:pt idx="86">
                  <c:v>115170.570546</c:v>
                </c:pt>
                <c:pt idx="87">
                  <c:v>96251.765451149986</c:v>
                </c:pt>
                <c:pt idx="88">
                  <c:v>78307.661421750003</c:v>
                </c:pt>
                <c:pt idx="89">
                  <c:v>64780.571508599991</c:v>
                </c:pt>
                <c:pt idx="90">
                  <c:v>55338.2089433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5E-3344-A347-75C5839268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2508752"/>
        <c:axId val="1247608288"/>
      </c:lineChart>
      <c:catAx>
        <c:axId val="131250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608288"/>
        <c:crosses val="autoZero"/>
        <c:auto val="1"/>
        <c:lblAlgn val="ctr"/>
        <c:lblOffset val="100"/>
        <c:noMultiLvlLbl val="0"/>
      </c:catAx>
      <c:valAx>
        <c:axId val="1247608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50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b="1"/>
              <a:t>First Demographic Dividend, Jakarta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47003499562554"/>
          <c:y val="0.17171296296296296"/>
          <c:w val="0.8545505249343831"/>
          <c:h val="0.6714577865266842"/>
        </c:manualLayout>
      </c:layout>
      <c:lineChart>
        <c:grouping val="standard"/>
        <c:varyColors val="0"/>
        <c:ser>
          <c:idx val="0"/>
          <c:order val="0"/>
          <c:tx>
            <c:v>Y Jakarta</c:v>
          </c:tx>
          <c:spPr>
            <a:ln w="38100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R_own!$A$3:$A$43</c:f>
              <c:numCache>
                <c:formatCode>General</c:formatCode>
                <c:ptCount val="4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  <c:pt idx="36">
                  <c:v>2051</c:v>
                </c:pt>
                <c:pt idx="37">
                  <c:v>2052</c:v>
                </c:pt>
                <c:pt idx="38">
                  <c:v>2053</c:v>
                </c:pt>
                <c:pt idx="39">
                  <c:v>2054</c:v>
                </c:pt>
                <c:pt idx="40">
                  <c:v>2055</c:v>
                </c:pt>
              </c:numCache>
            </c:numRef>
          </c:cat>
          <c:val>
            <c:numRef>
              <c:f>SR_own!$AY$4:$AY$43</c:f>
              <c:numCache>
                <c:formatCode>General</c:formatCode>
                <c:ptCount val="40"/>
                <c:pt idx="0">
                  <c:v>0.29217958369533459</c:v>
                </c:pt>
                <c:pt idx="1">
                  <c:v>0.25450311818251026</c:v>
                </c:pt>
                <c:pt idx="2">
                  <c:v>0.21826898834942976</c:v>
                </c:pt>
                <c:pt idx="3">
                  <c:v>0.18276271395849361</c:v>
                </c:pt>
                <c:pt idx="4">
                  <c:v>0.14728070553417053</c:v>
                </c:pt>
                <c:pt idx="5">
                  <c:v>0.11244527339153786</c:v>
                </c:pt>
                <c:pt idx="6">
                  <c:v>7.5927693650609127E-2</c:v>
                </c:pt>
                <c:pt idx="7">
                  <c:v>4.055948060171484E-2</c:v>
                </c:pt>
                <c:pt idx="8">
                  <c:v>9.1447985093211104E-3</c:v>
                </c:pt>
                <c:pt idx="9">
                  <c:v>-2.0310779596784664E-2</c:v>
                </c:pt>
                <c:pt idx="10">
                  <c:v>-4.7949757208090443E-2</c:v>
                </c:pt>
                <c:pt idx="11">
                  <c:v>-7.4682807895848871E-2</c:v>
                </c:pt>
                <c:pt idx="12">
                  <c:v>-9.9344068926851006E-2</c:v>
                </c:pt>
                <c:pt idx="13">
                  <c:v>-0.12278687294906947</c:v>
                </c:pt>
                <c:pt idx="14">
                  <c:v>-0.14513859968732665</c:v>
                </c:pt>
                <c:pt idx="15">
                  <c:v>-0.16707016748673223</c:v>
                </c:pt>
                <c:pt idx="16">
                  <c:v>-0.18707010757772335</c:v>
                </c:pt>
                <c:pt idx="17">
                  <c:v>-0.20583432824902667</c:v>
                </c:pt>
                <c:pt idx="18">
                  <c:v>-0.22321439702938961</c:v>
                </c:pt>
                <c:pt idx="19">
                  <c:v>-0.24080716883642042</c:v>
                </c:pt>
                <c:pt idx="20">
                  <c:v>-0.31390184705417767</c:v>
                </c:pt>
                <c:pt idx="21">
                  <c:v>-0.33016907343749768</c:v>
                </c:pt>
                <c:pt idx="22">
                  <c:v>-0.3388602630032847</c:v>
                </c:pt>
                <c:pt idx="23">
                  <c:v>-0.34341930059646264</c:v>
                </c:pt>
                <c:pt idx="24">
                  <c:v>-0.35259077384653748</c:v>
                </c:pt>
                <c:pt idx="25">
                  <c:v>-0.35261554901760062</c:v>
                </c:pt>
                <c:pt idx="26">
                  <c:v>-0.35623241399656835</c:v>
                </c:pt>
                <c:pt idx="27">
                  <c:v>-0.36870956441776942</c:v>
                </c:pt>
                <c:pt idx="28">
                  <c:v>-0.39975758741103812</c:v>
                </c:pt>
                <c:pt idx="29">
                  <c:v>-0.42159822597451185</c:v>
                </c:pt>
                <c:pt idx="30">
                  <c:v>-0.44161054215344608</c:v>
                </c:pt>
                <c:pt idx="31">
                  <c:v>-0.4465077429912423</c:v>
                </c:pt>
                <c:pt idx="32">
                  <c:v>-0.45147937168378638</c:v>
                </c:pt>
                <c:pt idx="33">
                  <c:v>-0.44571992381743764</c:v>
                </c:pt>
                <c:pt idx="34">
                  <c:v>-0.43426956609699557</c:v>
                </c:pt>
                <c:pt idx="35">
                  <c:v>-0.47350920177423672</c:v>
                </c:pt>
                <c:pt idx="36">
                  <c:v>-0.44965580035532221</c:v>
                </c:pt>
                <c:pt idx="37">
                  <c:v>-0.43964661779719272</c:v>
                </c:pt>
                <c:pt idx="38">
                  <c:v>-0.43119921540115036</c:v>
                </c:pt>
                <c:pt idx="39">
                  <c:v>-0.42722798094593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5FC-CB42-9CA8-B8AC28898B56}"/>
            </c:ext>
          </c:extLst>
        </c:ser>
        <c:ser>
          <c:idx val="1"/>
          <c:order val="1"/>
          <c:tx>
            <c:v>Y National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R_own!$A$3:$A$43</c:f>
              <c:numCache>
                <c:formatCode>General</c:formatCode>
                <c:ptCount val="4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  <c:pt idx="36">
                  <c:v>2051</c:v>
                </c:pt>
                <c:pt idx="37">
                  <c:v>2052</c:v>
                </c:pt>
                <c:pt idx="38">
                  <c:v>2053</c:v>
                </c:pt>
                <c:pt idx="39">
                  <c:v>2054</c:v>
                </c:pt>
                <c:pt idx="40">
                  <c:v>2055</c:v>
                </c:pt>
              </c:numCache>
            </c:numRef>
          </c:cat>
          <c:val>
            <c:numRef>
              <c:f>'%SR'!$M$3:$M$42</c:f>
              <c:numCache>
                <c:formatCode>General</c:formatCode>
                <c:ptCount val="40"/>
                <c:pt idx="0">
                  <c:v>0.47515163628640528</c:v>
                </c:pt>
                <c:pt idx="1">
                  <c:v>0.40226279888556837</c:v>
                </c:pt>
                <c:pt idx="2">
                  <c:v>0.3280408508798669</c:v>
                </c:pt>
                <c:pt idx="3">
                  <c:v>0.25268789454432561</c:v>
                </c:pt>
                <c:pt idx="4">
                  <c:v>0.17762208020415199</c:v>
                </c:pt>
                <c:pt idx="5">
                  <c:v>0.10765475590619389</c:v>
                </c:pt>
                <c:pt idx="6">
                  <c:v>3.2046458117034105E-2</c:v>
                </c:pt>
                <c:pt idx="7">
                  <c:v>-4.8883084476407997E-2</c:v>
                </c:pt>
                <c:pt idx="8">
                  <c:v>-0.11619995066244745</c:v>
                </c:pt>
                <c:pt idx="9">
                  <c:v>-0.18096043934991687</c:v>
                </c:pt>
                <c:pt idx="10">
                  <c:v>-0.24361591788199655</c:v>
                </c:pt>
                <c:pt idx="11">
                  <c:v>-0.29995672760661796</c:v>
                </c:pt>
                <c:pt idx="12">
                  <c:v>-0.34850713770662056</c:v>
                </c:pt>
                <c:pt idx="13">
                  <c:v>-0.38705136091681402</c:v>
                </c:pt>
                <c:pt idx="14">
                  <c:v>-0.41419975515427676</c:v>
                </c:pt>
                <c:pt idx="15">
                  <c:v>-0.43666332156611931</c:v>
                </c:pt>
                <c:pt idx="16">
                  <c:v>-0.44808752811881686</c:v>
                </c:pt>
                <c:pt idx="17">
                  <c:v>-0.44977614589520953</c:v>
                </c:pt>
                <c:pt idx="18">
                  <c:v>-0.44188349232213942</c:v>
                </c:pt>
                <c:pt idx="19">
                  <c:v>-0.43107738047629934</c:v>
                </c:pt>
                <c:pt idx="20">
                  <c:v>-0.42539313273984469</c:v>
                </c:pt>
                <c:pt idx="21">
                  <c:v>-0.41272959555640648</c:v>
                </c:pt>
                <c:pt idx="22">
                  <c:v>-0.39864137571776154</c:v>
                </c:pt>
                <c:pt idx="23">
                  <c:v>-0.38092300158975034</c:v>
                </c:pt>
                <c:pt idx="24">
                  <c:v>-0.36427646472487846</c:v>
                </c:pt>
                <c:pt idx="25">
                  <c:v>-0.34838902309926251</c:v>
                </c:pt>
                <c:pt idx="26">
                  <c:v>-0.33234457332826006</c:v>
                </c:pt>
                <c:pt idx="27">
                  <c:v>-0.31765297885285881</c:v>
                </c:pt>
                <c:pt idx="28">
                  <c:v>-0.30488844489415767</c:v>
                </c:pt>
                <c:pt idx="29">
                  <c:v>-0.29301601619218587</c:v>
                </c:pt>
                <c:pt idx="30">
                  <c:v>-0.28368933699058863</c:v>
                </c:pt>
                <c:pt idx="31">
                  <c:v>-0.27512672857466008</c:v>
                </c:pt>
                <c:pt idx="32">
                  <c:v>-0.26815437537660491</c:v>
                </c:pt>
                <c:pt idx="33">
                  <c:v>-0.26089723968634188</c:v>
                </c:pt>
                <c:pt idx="34">
                  <c:v>-0.25452174744994233</c:v>
                </c:pt>
                <c:pt idx="35">
                  <c:v>-0.24704696757709932</c:v>
                </c:pt>
                <c:pt idx="36">
                  <c:v>-0.23765786934964767</c:v>
                </c:pt>
                <c:pt idx="37">
                  <c:v>-0.22649629145459932</c:v>
                </c:pt>
                <c:pt idx="38">
                  <c:v>-0.21305655923160052</c:v>
                </c:pt>
                <c:pt idx="39">
                  <c:v>-0.19640656052223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5FC-CB42-9CA8-B8AC28898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4109808"/>
        <c:axId val="865664608"/>
      </c:lineChart>
      <c:catAx>
        <c:axId val="87410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5664608"/>
        <c:crosses val="autoZero"/>
        <c:auto val="1"/>
        <c:lblAlgn val="ctr"/>
        <c:lblOffset val="100"/>
        <c:noMultiLvlLbl val="0"/>
      </c:catAx>
      <c:valAx>
        <c:axId val="865664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4109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95000"/>
          <a:lumOff val="5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b="1"/>
              <a:t>First Demographic Dividend, NT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47003499562554"/>
          <c:y val="0.17171296296296296"/>
          <c:w val="0.8545505249343831"/>
          <c:h val="0.6714577865266842"/>
        </c:manualLayout>
      </c:layout>
      <c:lineChart>
        <c:grouping val="standard"/>
        <c:varyColors val="0"/>
        <c:ser>
          <c:idx val="0"/>
          <c:order val="0"/>
          <c:tx>
            <c:v>Y NTT</c:v>
          </c:tx>
          <c:spPr>
            <a:ln w="38100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R_own!$A$3:$A$43</c:f>
              <c:numCache>
                <c:formatCode>General</c:formatCode>
                <c:ptCount val="4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  <c:pt idx="36">
                  <c:v>2051</c:v>
                </c:pt>
                <c:pt idx="37">
                  <c:v>2052</c:v>
                </c:pt>
                <c:pt idx="38">
                  <c:v>2053</c:v>
                </c:pt>
                <c:pt idx="39">
                  <c:v>2054</c:v>
                </c:pt>
                <c:pt idx="40">
                  <c:v>2055</c:v>
                </c:pt>
              </c:numCache>
            </c:numRef>
          </c:cat>
          <c:val>
            <c:numRef>
              <c:f>SR_own!$BG$4:$BG$43</c:f>
              <c:numCache>
                <c:formatCode>General</c:formatCode>
                <c:ptCount val="40"/>
                <c:pt idx="0">
                  <c:v>0.31175616248662658</c:v>
                </c:pt>
                <c:pt idx="1">
                  <c:v>0.26193536332650985</c:v>
                </c:pt>
                <c:pt idx="2">
                  <c:v>0.21494446385651531</c:v>
                </c:pt>
                <c:pt idx="3">
                  <c:v>0.17030126295177089</c:v>
                </c:pt>
                <c:pt idx="4">
                  <c:v>0.12595740371993766</c:v>
                </c:pt>
                <c:pt idx="5">
                  <c:v>8.367868788445286E-2</c:v>
                </c:pt>
                <c:pt idx="6">
                  <c:v>4.1014939051250032E-2</c:v>
                </c:pt>
                <c:pt idx="7">
                  <c:v>-3.8578217336757365E-4</c:v>
                </c:pt>
                <c:pt idx="8">
                  <c:v>-3.7561300147043584E-2</c:v>
                </c:pt>
                <c:pt idx="9">
                  <c:v>-7.2782629563254361E-2</c:v>
                </c:pt>
                <c:pt idx="10">
                  <c:v>-0.10759451561139144</c:v>
                </c:pt>
                <c:pt idx="11">
                  <c:v>-0.14176861576400385</c:v>
                </c:pt>
                <c:pt idx="12">
                  <c:v>-0.17341902093752659</c:v>
                </c:pt>
                <c:pt idx="13">
                  <c:v>-0.20324956010192999</c:v>
                </c:pt>
                <c:pt idx="14">
                  <c:v>-0.23085043689876997</c:v>
                </c:pt>
                <c:pt idx="15">
                  <c:v>-0.2557483170259276</c:v>
                </c:pt>
                <c:pt idx="16">
                  <c:v>-0.27646337064481097</c:v>
                </c:pt>
                <c:pt idx="17">
                  <c:v>-0.29424738354799607</c:v>
                </c:pt>
                <c:pt idx="18">
                  <c:v>-0.3093448680209554</c:v>
                </c:pt>
                <c:pt idx="19">
                  <c:v>-0.32346770561250676</c:v>
                </c:pt>
                <c:pt idx="20">
                  <c:v>-0.39140803222824866</c:v>
                </c:pt>
                <c:pt idx="21">
                  <c:v>-0.40465236584727821</c:v>
                </c:pt>
                <c:pt idx="22">
                  <c:v>-0.41095091553438712</c:v>
                </c:pt>
                <c:pt idx="23">
                  <c:v>-0.41384693246440535</c:v>
                </c:pt>
                <c:pt idx="24">
                  <c:v>-0.42155636748248154</c:v>
                </c:pt>
                <c:pt idx="25">
                  <c:v>-0.41961830175436876</c:v>
                </c:pt>
                <c:pt idx="26">
                  <c:v>-0.42111028220299862</c:v>
                </c:pt>
                <c:pt idx="27">
                  <c:v>-0.43056592733307703</c:v>
                </c:pt>
                <c:pt idx="28">
                  <c:v>-0.45651762066262991</c:v>
                </c:pt>
                <c:pt idx="29">
                  <c:v>-0.47225074406081924</c:v>
                </c:pt>
                <c:pt idx="30">
                  <c:v>-0.48596481788691237</c:v>
                </c:pt>
                <c:pt idx="31">
                  <c:v>-0.48466441317591191</c:v>
                </c:pt>
                <c:pt idx="32">
                  <c:v>-0.48380666512445075</c:v>
                </c:pt>
                <c:pt idx="33">
                  <c:v>-0.47367995548729547</c:v>
                </c:pt>
                <c:pt idx="34">
                  <c:v>-0.45924865788076041</c:v>
                </c:pt>
                <c:pt idx="35">
                  <c:v>-0.49429761466791244</c:v>
                </c:pt>
                <c:pt idx="36">
                  <c:v>-0.46923606392818656</c:v>
                </c:pt>
                <c:pt idx="37">
                  <c:v>-0.45739225922927429</c:v>
                </c:pt>
                <c:pt idx="38">
                  <c:v>-0.447067824049177</c:v>
                </c:pt>
                <c:pt idx="39">
                  <c:v>-0.44054552675495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51F-F543-B910-459771F8994B}"/>
            </c:ext>
          </c:extLst>
        </c:ser>
        <c:ser>
          <c:idx val="1"/>
          <c:order val="1"/>
          <c:tx>
            <c:v>Y National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R_own!$A$3:$A$43</c:f>
              <c:numCache>
                <c:formatCode>General</c:formatCode>
                <c:ptCount val="4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  <c:pt idx="21">
                  <c:v>2036</c:v>
                </c:pt>
                <c:pt idx="22">
                  <c:v>2037</c:v>
                </c:pt>
                <c:pt idx="23">
                  <c:v>2038</c:v>
                </c:pt>
                <c:pt idx="24">
                  <c:v>2039</c:v>
                </c:pt>
                <c:pt idx="25">
                  <c:v>2040</c:v>
                </c:pt>
                <c:pt idx="26">
                  <c:v>2041</c:v>
                </c:pt>
                <c:pt idx="27">
                  <c:v>2042</c:v>
                </c:pt>
                <c:pt idx="28">
                  <c:v>2043</c:v>
                </c:pt>
                <c:pt idx="29">
                  <c:v>2044</c:v>
                </c:pt>
                <c:pt idx="30">
                  <c:v>2045</c:v>
                </c:pt>
                <c:pt idx="31">
                  <c:v>2046</c:v>
                </c:pt>
                <c:pt idx="32">
                  <c:v>2047</c:v>
                </c:pt>
                <c:pt idx="33">
                  <c:v>2048</c:v>
                </c:pt>
                <c:pt idx="34">
                  <c:v>2049</c:v>
                </c:pt>
                <c:pt idx="35">
                  <c:v>2050</c:v>
                </c:pt>
                <c:pt idx="36">
                  <c:v>2051</c:v>
                </c:pt>
                <c:pt idx="37">
                  <c:v>2052</c:v>
                </c:pt>
                <c:pt idx="38">
                  <c:v>2053</c:v>
                </c:pt>
                <c:pt idx="39">
                  <c:v>2054</c:v>
                </c:pt>
                <c:pt idx="40">
                  <c:v>2055</c:v>
                </c:pt>
              </c:numCache>
            </c:numRef>
          </c:cat>
          <c:val>
            <c:numRef>
              <c:f>'%SR'!$U$3:$U$42</c:f>
              <c:numCache>
                <c:formatCode>General</c:formatCode>
                <c:ptCount val="40"/>
                <c:pt idx="0">
                  <c:v>0.35157882313015759</c:v>
                </c:pt>
                <c:pt idx="1">
                  <c:v>0.31526473792577181</c:v>
                </c:pt>
                <c:pt idx="2">
                  <c:v>0.27902792580291802</c:v>
                </c:pt>
                <c:pt idx="3">
                  <c:v>0.24466975956439369</c:v>
                </c:pt>
                <c:pt idx="4">
                  <c:v>0.2122804754646675</c:v>
                </c:pt>
                <c:pt idx="5">
                  <c:v>0.18799190383950434</c:v>
                </c:pt>
                <c:pt idx="6">
                  <c:v>0.16398974770042993</c:v>
                </c:pt>
                <c:pt idx="7">
                  <c:v>0.1402550893954598</c:v>
                </c:pt>
                <c:pt idx="8">
                  <c:v>0.13084046735282814</c:v>
                </c:pt>
                <c:pt idx="9">
                  <c:v>0.1264898043380614</c:v>
                </c:pt>
                <c:pt idx="10">
                  <c:v>0.1209860398231951</c:v>
                </c:pt>
                <c:pt idx="11">
                  <c:v>0.11828789858366186</c:v>
                </c:pt>
                <c:pt idx="12">
                  <c:v>0.12055346894581313</c:v>
                </c:pt>
                <c:pt idx="13">
                  <c:v>0.12736459981268225</c:v>
                </c:pt>
                <c:pt idx="14">
                  <c:v>0.13714029099026376</c:v>
                </c:pt>
                <c:pt idx="15">
                  <c:v>0.14582157268789106</c:v>
                </c:pt>
                <c:pt idx="16">
                  <c:v>0.15817931131023946</c:v>
                </c:pt>
                <c:pt idx="17">
                  <c:v>0.17181674188179427</c:v>
                </c:pt>
                <c:pt idx="18">
                  <c:v>0.18643545064043807</c:v>
                </c:pt>
                <c:pt idx="19">
                  <c:v>0.19717282588981241</c:v>
                </c:pt>
                <c:pt idx="20">
                  <c:v>0.20313157334428811</c:v>
                </c:pt>
                <c:pt idx="21">
                  <c:v>0.20493133835926933</c:v>
                </c:pt>
                <c:pt idx="22">
                  <c:v>0.20249941734408866</c:v>
                </c:pt>
                <c:pt idx="23">
                  <c:v>0.19682163889166043</c:v>
                </c:pt>
                <c:pt idx="24">
                  <c:v>0.18491621791729701</c:v>
                </c:pt>
                <c:pt idx="25">
                  <c:v>0.16884698520628524</c:v>
                </c:pt>
                <c:pt idx="26">
                  <c:v>0.15058285360202969</c:v>
                </c:pt>
                <c:pt idx="27">
                  <c:v>0.1310916406157327</c:v>
                </c:pt>
                <c:pt idx="28">
                  <c:v>0.11169790957850656</c:v>
                </c:pt>
                <c:pt idx="29">
                  <c:v>9.4554518526013986E-2</c:v>
                </c:pt>
                <c:pt idx="30">
                  <c:v>7.8090299800135252E-2</c:v>
                </c:pt>
                <c:pt idx="31">
                  <c:v>6.4037052622787971E-2</c:v>
                </c:pt>
                <c:pt idx="32">
                  <c:v>5.2415829928915719E-2</c:v>
                </c:pt>
                <c:pt idx="33">
                  <c:v>4.4451793126857604E-2</c:v>
                </c:pt>
                <c:pt idx="34">
                  <c:v>3.8830195139123953E-2</c:v>
                </c:pt>
                <c:pt idx="35">
                  <c:v>3.704131375975573E-2</c:v>
                </c:pt>
                <c:pt idx="36">
                  <c:v>3.687114361039897E-2</c:v>
                </c:pt>
                <c:pt idx="37">
                  <c:v>3.8352013793511615E-2</c:v>
                </c:pt>
                <c:pt idx="38">
                  <c:v>4.1411938658927699E-2</c:v>
                </c:pt>
                <c:pt idx="39">
                  <c:v>4.610032890108945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1F-F543-B910-459771F899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4109808"/>
        <c:axId val="865664608"/>
      </c:lineChart>
      <c:catAx>
        <c:axId val="87410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5664608"/>
        <c:crosses val="autoZero"/>
        <c:auto val="1"/>
        <c:lblAlgn val="ctr"/>
        <c:lblOffset val="100"/>
        <c:noMultiLvlLbl val="0"/>
      </c:catAx>
      <c:valAx>
        <c:axId val="865664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4109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95000"/>
          <a:lumOff val="5000"/>
        </a:schemeClr>
      </a:solidFill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Development of TFR and Projection of TFR 2015-2045</a:t>
            </a:r>
            <a:endParaRPr lang="id-ID" dirty="0">
              <a:latin typeface="Poppins" panose="00000500000000000000" pitchFamily="2" charset="0"/>
              <a:cs typeface="Poppins" panose="00000500000000000000" pitchFamily="2" charset="0"/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9.2582347001126858E-2"/>
          <c:y val="9.5535615090386786E-2"/>
          <c:w val="0.86234007233323284"/>
          <c:h val="0.80196823368832038"/>
        </c:manualLayout>
      </c:layout>
      <c:lineChart>
        <c:grouping val="standard"/>
        <c:varyColors val="0"/>
        <c:ser>
          <c:idx val="0"/>
          <c:order val="0"/>
          <c:tx>
            <c:strRef>
              <c:f>'Tren TFR 71 to 2015'!$C$25</c:f>
              <c:strCache>
                <c:ptCount val="1"/>
                <c:pt idx="0">
                  <c:v>Sensus/ SUPAS</c:v>
                </c:pt>
              </c:strCache>
            </c:strRef>
          </c:tx>
          <c:spPr>
            <a:ln w="38100"/>
          </c:spPr>
          <c:dLbls>
            <c:dLbl>
              <c:idx val="1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B7-6F48-8F5D-61EF05DA1F46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B7-6F48-8F5D-61EF05DA1F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ren TFR 71 to 2015'!$B$26:$B$48</c:f>
              <c:numCache>
                <c:formatCode>General</c:formatCode>
                <c:ptCount val="23"/>
                <c:pt idx="0">
                  <c:v>1971</c:v>
                </c:pt>
                <c:pt idx="1">
                  <c:v>1976</c:v>
                </c:pt>
                <c:pt idx="2">
                  <c:v>1980</c:v>
                </c:pt>
                <c:pt idx="3">
                  <c:v>1985</c:v>
                </c:pt>
                <c:pt idx="4">
                  <c:v>1990</c:v>
                </c:pt>
                <c:pt idx="5">
                  <c:v>1991</c:v>
                </c:pt>
                <c:pt idx="6">
                  <c:v>1994</c:v>
                </c:pt>
                <c:pt idx="7">
                  <c:v>1995</c:v>
                </c:pt>
                <c:pt idx="8">
                  <c:v>1997</c:v>
                </c:pt>
                <c:pt idx="9">
                  <c:v>2000</c:v>
                </c:pt>
                <c:pt idx="10">
                  <c:v>2002</c:v>
                </c:pt>
                <c:pt idx="11">
                  <c:v>2005</c:v>
                </c:pt>
                <c:pt idx="12">
                  <c:v>2007</c:v>
                </c:pt>
                <c:pt idx="13">
                  <c:v>2010</c:v>
                </c:pt>
                <c:pt idx="14">
                  <c:v>2012</c:v>
                </c:pt>
                <c:pt idx="15">
                  <c:v>2015</c:v>
                </c:pt>
                <c:pt idx="16">
                  <c:v>2017</c:v>
                </c:pt>
                <c:pt idx="17">
                  <c:v>2020</c:v>
                </c:pt>
                <c:pt idx="18">
                  <c:v>2025</c:v>
                </c:pt>
                <c:pt idx="19">
                  <c:v>2030</c:v>
                </c:pt>
                <c:pt idx="20">
                  <c:v>2035</c:v>
                </c:pt>
                <c:pt idx="21">
                  <c:v>2040</c:v>
                </c:pt>
                <c:pt idx="22">
                  <c:v>2045</c:v>
                </c:pt>
              </c:numCache>
            </c:numRef>
          </c:cat>
          <c:val>
            <c:numRef>
              <c:f>'Tren TFR 71 to 2015'!$C$26:$C$48</c:f>
              <c:numCache>
                <c:formatCode>#,##0.00_);\(#,##0.00\)</c:formatCode>
                <c:ptCount val="23"/>
                <c:pt idx="0">
                  <c:v>5.6050000000000004</c:v>
                </c:pt>
                <c:pt idx="1">
                  <c:v>5.2</c:v>
                </c:pt>
                <c:pt idx="2">
                  <c:v>4.68</c:v>
                </c:pt>
                <c:pt idx="3">
                  <c:v>4.0549999999999997</c:v>
                </c:pt>
                <c:pt idx="4">
                  <c:v>3.3260000000000001</c:v>
                </c:pt>
                <c:pt idx="7">
                  <c:v>2.802</c:v>
                </c:pt>
                <c:pt idx="9">
                  <c:v>2.3439999999999999</c:v>
                </c:pt>
                <c:pt idx="11">
                  <c:v>2.2633000000000001</c:v>
                </c:pt>
                <c:pt idx="13">
                  <c:v>2.4140999999999999</c:v>
                </c:pt>
                <c:pt idx="15">
                  <c:v>2.2825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4F-8446-8386-C8EE8FD3361F}"/>
            </c:ext>
          </c:extLst>
        </c:ser>
        <c:ser>
          <c:idx val="1"/>
          <c:order val="1"/>
          <c:tx>
            <c:strRef>
              <c:f>'Tren TFR 71 to 2015'!$D$25</c:f>
              <c:strCache>
                <c:ptCount val="1"/>
                <c:pt idx="0">
                  <c:v>SDKI</c:v>
                </c:pt>
              </c:strCache>
            </c:strRef>
          </c:tx>
          <c:spPr>
            <a:ln w="38100"/>
          </c:spPr>
          <c:cat>
            <c:numRef>
              <c:f>'Tren TFR 71 to 2015'!$B$26:$B$48</c:f>
              <c:numCache>
                <c:formatCode>General</c:formatCode>
                <c:ptCount val="23"/>
                <c:pt idx="0">
                  <c:v>1971</c:v>
                </c:pt>
                <c:pt idx="1">
                  <c:v>1976</c:v>
                </c:pt>
                <c:pt idx="2">
                  <c:v>1980</c:v>
                </c:pt>
                <c:pt idx="3">
                  <c:v>1985</c:v>
                </c:pt>
                <c:pt idx="4">
                  <c:v>1990</c:v>
                </c:pt>
                <c:pt idx="5">
                  <c:v>1991</c:v>
                </c:pt>
                <c:pt idx="6">
                  <c:v>1994</c:v>
                </c:pt>
                <c:pt idx="7">
                  <c:v>1995</c:v>
                </c:pt>
                <c:pt idx="8">
                  <c:v>1997</c:v>
                </c:pt>
                <c:pt idx="9">
                  <c:v>2000</c:v>
                </c:pt>
                <c:pt idx="10">
                  <c:v>2002</c:v>
                </c:pt>
                <c:pt idx="11">
                  <c:v>2005</c:v>
                </c:pt>
                <c:pt idx="12">
                  <c:v>2007</c:v>
                </c:pt>
                <c:pt idx="13">
                  <c:v>2010</c:v>
                </c:pt>
                <c:pt idx="14">
                  <c:v>2012</c:v>
                </c:pt>
                <c:pt idx="15">
                  <c:v>2015</c:v>
                </c:pt>
                <c:pt idx="16">
                  <c:v>2017</c:v>
                </c:pt>
                <c:pt idx="17">
                  <c:v>2020</c:v>
                </c:pt>
                <c:pt idx="18">
                  <c:v>2025</c:v>
                </c:pt>
                <c:pt idx="19">
                  <c:v>2030</c:v>
                </c:pt>
                <c:pt idx="20">
                  <c:v>2035</c:v>
                </c:pt>
                <c:pt idx="21">
                  <c:v>2040</c:v>
                </c:pt>
                <c:pt idx="22">
                  <c:v>2045</c:v>
                </c:pt>
              </c:numCache>
            </c:numRef>
          </c:cat>
          <c:val>
            <c:numRef>
              <c:f>'Tren TFR 71 to 2015'!$D$26:$D$48</c:f>
              <c:numCache>
                <c:formatCode>General</c:formatCode>
                <c:ptCount val="23"/>
                <c:pt idx="5" formatCode="#,##0.00_);\(#,##0.00\)">
                  <c:v>3</c:v>
                </c:pt>
                <c:pt idx="6" formatCode="#,##0.00_);\(#,##0.00\)">
                  <c:v>2.9</c:v>
                </c:pt>
                <c:pt idx="8" formatCode="#,##0.00_);\(#,##0.00\)">
                  <c:v>2.8</c:v>
                </c:pt>
                <c:pt idx="10" formatCode="#,##0.00_);\(#,##0.00\)">
                  <c:v>2.6</c:v>
                </c:pt>
                <c:pt idx="12" formatCode="#,##0.00_);\(#,##0.00\)">
                  <c:v>2.6</c:v>
                </c:pt>
                <c:pt idx="14" formatCode="#,##0.00_);\(#,##0.00\)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4F-8446-8386-C8EE8FD3361F}"/>
            </c:ext>
          </c:extLst>
        </c:ser>
        <c:ser>
          <c:idx val="3"/>
          <c:order val="2"/>
          <c:tx>
            <c:strRef>
              <c:f>'Tren TFR 71 to 2015'!$F$25</c:f>
              <c:strCache>
                <c:ptCount val="1"/>
                <c:pt idx="0">
                  <c:v>Proyeksi 2015-2045</c:v>
                </c:pt>
              </c:strCache>
            </c:strRef>
          </c:tx>
          <c:spPr>
            <a:ln w="38100"/>
          </c:spPr>
          <c:cat>
            <c:numRef>
              <c:f>'Tren TFR 71 to 2015'!$B$26:$B$48</c:f>
              <c:numCache>
                <c:formatCode>General</c:formatCode>
                <c:ptCount val="23"/>
                <c:pt idx="0">
                  <c:v>1971</c:v>
                </c:pt>
                <c:pt idx="1">
                  <c:v>1976</c:v>
                </c:pt>
                <c:pt idx="2">
                  <c:v>1980</c:v>
                </c:pt>
                <c:pt idx="3">
                  <c:v>1985</c:v>
                </c:pt>
                <c:pt idx="4">
                  <c:v>1990</c:v>
                </c:pt>
                <c:pt idx="5">
                  <c:v>1991</c:v>
                </c:pt>
                <c:pt idx="6">
                  <c:v>1994</c:v>
                </c:pt>
                <c:pt idx="7">
                  <c:v>1995</c:v>
                </c:pt>
                <c:pt idx="8">
                  <c:v>1997</c:v>
                </c:pt>
                <c:pt idx="9">
                  <c:v>2000</c:v>
                </c:pt>
                <c:pt idx="10">
                  <c:v>2002</c:v>
                </c:pt>
                <c:pt idx="11">
                  <c:v>2005</c:v>
                </c:pt>
                <c:pt idx="12">
                  <c:v>2007</c:v>
                </c:pt>
                <c:pt idx="13">
                  <c:v>2010</c:v>
                </c:pt>
                <c:pt idx="14">
                  <c:v>2012</c:v>
                </c:pt>
                <c:pt idx="15">
                  <c:v>2015</c:v>
                </c:pt>
                <c:pt idx="16">
                  <c:v>2017</c:v>
                </c:pt>
                <c:pt idx="17">
                  <c:v>2020</c:v>
                </c:pt>
                <c:pt idx="18">
                  <c:v>2025</c:v>
                </c:pt>
                <c:pt idx="19">
                  <c:v>2030</c:v>
                </c:pt>
                <c:pt idx="20">
                  <c:v>2035</c:v>
                </c:pt>
                <c:pt idx="21">
                  <c:v>2040</c:v>
                </c:pt>
                <c:pt idx="22">
                  <c:v>2045</c:v>
                </c:pt>
              </c:numCache>
            </c:numRef>
          </c:cat>
          <c:val>
            <c:numRef>
              <c:f>'Tren TFR 71 to 2015'!$F$26:$F$48</c:f>
              <c:numCache>
                <c:formatCode>General</c:formatCode>
                <c:ptCount val="23"/>
                <c:pt idx="17">
                  <c:v>2.1</c:v>
                </c:pt>
                <c:pt idx="18">
                  <c:v>2.0499999999999998</c:v>
                </c:pt>
                <c:pt idx="19">
                  <c:v>2.02</c:v>
                </c:pt>
                <c:pt idx="20">
                  <c:v>2</c:v>
                </c:pt>
                <c:pt idx="21">
                  <c:v>1.99</c:v>
                </c:pt>
                <c:pt idx="22">
                  <c:v>1.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4F-8446-8386-C8EE8FD3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498624"/>
        <c:axId val="207545472"/>
      </c:lineChart>
      <c:catAx>
        <c:axId val="207498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latin typeface="Poppins" panose="00000500000000000000" pitchFamily="2" charset="0"/>
                <a:cs typeface="Poppins" panose="00000500000000000000" pitchFamily="2" charset="0"/>
              </a:defRPr>
            </a:pPr>
            <a:endParaRPr lang="en-US"/>
          </a:p>
        </c:txPr>
        <c:crossAx val="207545472"/>
        <c:crosses val="autoZero"/>
        <c:auto val="1"/>
        <c:lblAlgn val="ctr"/>
        <c:lblOffset val="100"/>
        <c:noMultiLvlLbl val="0"/>
      </c:catAx>
      <c:valAx>
        <c:axId val="207545472"/>
        <c:scaling>
          <c:orientation val="minMax"/>
          <c:min val="1.5"/>
        </c:scaling>
        <c:delete val="0"/>
        <c:axPos val="l"/>
        <c:title>
          <c:overlay val="0"/>
          <c:txPr>
            <a:bodyPr/>
            <a:lstStyle/>
            <a:p>
              <a:pPr>
                <a:defRPr>
                  <a:latin typeface="Poppins" panose="00000500000000000000" pitchFamily="2" charset="0"/>
                  <a:cs typeface="Poppins" panose="00000500000000000000" pitchFamily="2" charset="0"/>
                </a:defRPr>
              </a:pPr>
              <a:endParaRPr lang="en-US"/>
            </a:p>
          </c:txPr>
        </c:title>
        <c:numFmt formatCode="#,##0.0_);\(#,##0.0\)" sourceLinked="0"/>
        <c:majorTickMark val="none"/>
        <c:minorTickMark val="none"/>
        <c:tickLblPos val="nextTo"/>
        <c:txPr>
          <a:bodyPr/>
          <a:lstStyle/>
          <a:p>
            <a:pPr>
              <a:defRPr>
                <a:latin typeface="Poppins" panose="00000500000000000000" pitchFamily="2" charset="0"/>
                <a:cs typeface="Poppins" panose="00000500000000000000" pitchFamily="2" charset="0"/>
              </a:defRPr>
            </a:pPr>
            <a:endParaRPr lang="en-US"/>
          </a:p>
        </c:txPr>
        <c:crossAx val="2074986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896399408002289"/>
          <c:y val="0.28607376958115766"/>
          <c:w val="0.47340300482486075"/>
          <c:h val="0.17308711730442652"/>
        </c:manualLayout>
      </c:layout>
      <c:overlay val="0"/>
      <c:txPr>
        <a:bodyPr/>
        <a:lstStyle/>
        <a:p>
          <a:pPr>
            <a:defRPr>
              <a:latin typeface="Poppins" panose="00000500000000000000" pitchFamily="2" charset="0"/>
              <a:cs typeface="Poppins" panose="00000500000000000000" pitchFamily="2" charset="0"/>
            </a:defRPr>
          </a:pPr>
          <a:endParaRPr lang="en-US"/>
        </a:p>
      </c:txPr>
    </c:legend>
    <c:plotVisOnly val="1"/>
    <c:dispBlanksAs val="gap"/>
    <c:showDLblsOverMax val="0"/>
  </c:chart>
  <c:spPr>
    <a:ln>
      <a:solidFill>
        <a:schemeClr val="accent4">
          <a:lumMod val="40000"/>
          <a:lumOff val="60000"/>
        </a:schemeClr>
      </a:solidFill>
    </a:ln>
  </c:spPr>
  <c:txPr>
    <a:bodyPr/>
    <a:lstStyle/>
    <a:p>
      <a:pPr>
        <a:defRPr sz="1200">
          <a:latin typeface="Cambria" pitchFamily="18" charset="0"/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b="1"/>
              <a:t>Ln( Per child Education Spending / ave Labor Income 30-49 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0.24583333333333329"/>
                  <c:y val="0.1388888888888889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Java-Bali 2019; </a:t>
                    </a:r>
                    <a:fld id="{4B8370E2-3990-534B-A50A-E1526CC634EB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66666666666666"/>
                      <c:h val="0.115601851851851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2D7-E640-B47B-A050DE2520B0}"/>
                </c:ext>
              </c:extLst>
            </c:dLbl>
            <c:dLbl>
              <c:idx val="3"/>
              <c:layout>
                <c:manualLayout>
                  <c:x val="-9.166666666666666E-2"/>
                  <c:y val="0.2453703703703703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TT, 2019</a:t>
                    </a:r>
                    <a:r>
                      <a:rPr lang="en-US" baseline="0"/>
                      <a:t>; </a:t>
                    </a:r>
                    <a:fld id="{E5B91478-CFC3-3F4A-A338-FE85C7A27976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2D7-E640-B47B-A050DE2520B0}"/>
                </c:ext>
              </c:extLst>
            </c:dLbl>
            <c:dLbl>
              <c:idx val="9"/>
              <c:layout>
                <c:manualLayout>
                  <c:x val="-0.10334216847558439"/>
                  <c:y val="-0.1030833412831195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Java-Bali 2022</a:t>
                    </a:r>
                    <a:r>
                      <a:rPr lang="en-US" baseline="0" dirty="0"/>
                      <a:t>; </a:t>
                    </a:r>
                    <a:fld id="{67F3E45A-6D2E-A04C-A79E-D6547192E3DC}" type="YVALUE">
                      <a:rPr lang="en-US" baseline="0"/>
                      <a:pPr/>
                      <a:t>[Y 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796295933370489"/>
                      <c:h val="3.81281099363242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2D7-E640-B47B-A050DE2520B0}"/>
                </c:ext>
              </c:extLst>
            </c:dLbl>
            <c:dLbl>
              <c:idx val="10"/>
              <c:layout>
                <c:manualLayout>
                  <c:x val="-1.455523499656225E-3"/>
                  <c:y val="-0.1119917781841298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NTT 2022</a:t>
                    </a:r>
                    <a:r>
                      <a:rPr lang="en-US" baseline="0" dirty="0"/>
                      <a:t>; </a:t>
                    </a:r>
                    <a:fld id="{97B09B75-00C5-DF4D-8146-2B49DF2EBE07}" type="YVALUE">
                      <a:rPr lang="en-US" baseline="0"/>
                      <a:pPr/>
                      <a:t>[Y 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2D7-E640-B47B-A050DE2520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ummary!$B$46:$O$46</c:f>
              <c:numCache>
                <c:formatCode>_-* #,##0.00_-;\-* #,##0.00_-;_-* "-"_-;_-@_-</c:formatCode>
                <c:ptCount val="14"/>
                <c:pt idx="0">
                  <c:v>0.74668794748797507</c:v>
                </c:pt>
                <c:pt idx="1">
                  <c:v>0.80514700640200254</c:v>
                </c:pt>
                <c:pt idx="2">
                  <c:v>0.57185508875465718</c:v>
                </c:pt>
                <c:pt idx="3">
                  <c:v>0.77701073156524492</c:v>
                </c:pt>
                <c:pt idx="4">
                  <c:v>0.7156702466027447</c:v>
                </c:pt>
                <c:pt idx="5">
                  <c:v>0.76992305108224945</c:v>
                </c:pt>
                <c:pt idx="6">
                  <c:v>0.84642861043753503</c:v>
                </c:pt>
                <c:pt idx="7">
                  <c:v>0.74193734472937733</c:v>
                </c:pt>
                <c:pt idx="8">
                  <c:v>0.78311543964913388</c:v>
                </c:pt>
                <c:pt idx="9">
                  <c:v>0.61491722905088764</c:v>
                </c:pt>
                <c:pt idx="10">
                  <c:v>0.7910889124364191</c:v>
                </c:pt>
                <c:pt idx="11">
                  <c:v>0.6448876042767635</c:v>
                </c:pt>
                <c:pt idx="12">
                  <c:v>0.7262853213069872</c:v>
                </c:pt>
                <c:pt idx="13">
                  <c:v>0.82745717791257867</c:v>
                </c:pt>
              </c:numCache>
            </c:numRef>
          </c:xVal>
          <c:yVal>
            <c:numRef>
              <c:f>Summary!$B$47:$O$47</c:f>
              <c:numCache>
                <c:formatCode>0.00</c:formatCode>
                <c:ptCount val="14"/>
                <c:pt idx="0">
                  <c:v>-1.0887343573286856</c:v>
                </c:pt>
                <c:pt idx="1">
                  <c:v>-1.2419962793339701</c:v>
                </c:pt>
                <c:pt idx="2">
                  <c:v>-1.0458032801631174</c:v>
                </c:pt>
                <c:pt idx="3">
                  <c:v>-0.87694436342910786</c:v>
                </c:pt>
                <c:pt idx="4">
                  <c:v>-1.3345261110470523</c:v>
                </c:pt>
                <c:pt idx="5">
                  <c:v>-1.2856457904582497</c:v>
                </c:pt>
                <c:pt idx="6">
                  <c:v>-1.4545553915603575</c:v>
                </c:pt>
                <c:pt idx="7">
                  <c:v>-1.1552719333995989</c:v>
                </c:pt>
                <c:pt idx="8">
                  <c:v>-1.2500679415405118</c:v>
                </c:pt>
                <c:pt idx="9">
                  <c:v>-1.0826669070962549</c:v>
                </c:pt>
                <c:pt idx="10">
                  <c:v>-1.0885386203975362</c:v>
                </c:pt>
                <c:pt idx="11">
                  <c:v>-1.3779956780557121</c:v>
                </c:pt>
                <c:pt idx="12">
                  <c:v>-1.4360823541467473</c:v>
                </c:pt>
                <c:pt idx="13">
                  <c:v>-1.58308414251391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2D7-E640-B47B-A050DE2520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9502944"/>
        <c:axId val="1248972912"/>
      </c:scatterChart>
      <c:valAx>
        <c:axId val="1249502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0_-;\-* #,##0.00_-;_-* &quot;-&quot;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8972912"/>
        <c:crosses val="autoZero"/>
        <c:crossBetween val="midCat"/>
      </c:valAx>
      <c:valAx>
        <c:axId val="1248972912"/>
        <c:scaling>
          <c:orientation val="minMax"/>
          <c:min val="-2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95029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95000"/>
          <a:lumOff val="5000"/>
        </a:schemeClr>
      </a:solidFill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Ln( Per child Health Spending / ave Labor Income 30-49 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0.2013888888888889"/>
                  <c:y val="-0.15740740740740741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Java-Bali 2019; </a:t>
                    </a:r>
                    <a:fld id="{4B8370E2-3990-534B-A50A-E1526CC634EB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66666666666666"/>
                      <c:h val="0.115601851851851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926-C94E-806A-746732CAEE43}"/>
                </c:ext>
              </c:extLst>
            </c:dLbl>
            <c:dLbl>
              <c:idx val="3"/>
              <c:layout>
                <c:manualLayout>
                  <c:x val="-4.4444444444444446E-2"/>
                  <c:y val="-0.1064814814814814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TT, 2019</a:t>
                    </a:r>
                    <a:r>
                      <a:rPr lang="en-US" baseline="0"/>
                      <a:t>; </a:t>
                    </a:r>
                    <a:fld id="{E5B91478-CFC3-3F4A-A338-FE85C7A27976}" type="YVALUE">
                      <a:rPr lang="en-US" baseline="0"/>
                      <a:pPr/>
                      <a:t>[Y 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926-C94E-806A-746732CAEE43}"/>
                </c:ext>
              </c:extLst>
            </c:dLbl>
            <c:dLbl>
              <c:idx val="9"/>
              <c:layout>
                <c:manualLayout>
                  <c:x val="-6.7978061754622676E-2"/>
                  <c:y val="7.120581725095094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Java Bali 2022</a:t>
                    </a:r>
                    <a:r>
                      <a:rPr lang="en-US" baseline="0" dirty="0"/>
                      <a:t>; </a:t>
                    </a:r>
                    <a:fld id="{350A7DC5-0FC3-1042-A055-64BD28C363A1}" type="YVALUE">
                      <a:rPr lang="en-US" baseline="0"/>
                      <a:pPr/>
                      <a:t>[Y 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7926-C94E-806A-746732CAEE43}"/>
                </c:ext>
              </c:extLst>
            </c:dLbl>
            <c:dLbl>
              <c:idx val="10"/>
              <c:layout>
                <c:manualLayout>
                  <c:x val="8.3238442964844103E-3"/>
                  <c:y val="-0.1169809854837050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NTT, 2022</a:t>
                    </a:r>
                    <a:r>
                      <a:rPr lang="en-US" baseline="0" dirty="0"/>
                      <a:t>; </a:t>
                    </a:r>
                    <a:fld id="{8FE4BEE1-8D75-EB47-8B63-A81CAE3564D3}" type="YVALUE">
                      <a:rPr lang="en-US" baseline="0"/>
                      <a:pPr/>
                      <a:t>[Y 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7926-C94E-806A-746732CAE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ummary!$B$46:$O$46</c:f>
              <c:numCache>
                <c:formatCode>_-* #,##0.00_-;\-* #,##0.00_-;_-* "-"_-;_-@_-</c:formatCode>
                <c:ptCount val="14"/>
                <c:pt idx="0">
                  <c:v>0.74668794748797507</c:v>
                </c:pt>
                <c:pt idx="1">
                  <c:v>0.80514700640200254</c:v>
                </c:pt>
                <c:pt idx="2">
                  <c:v>0.57185508875465718</c:v>
                </c:pt>
                <c:pt idx="3">
                  <c:v>0.77701073156524492</c:v>
                </c:pt>
                <c:pt idx="4">
                  <c:v>0.7156702466027447</c:v>
                </c:pt>
                <c:pt idx="5">
                  <c:v>0.76992305108224945</c:v>
                </c:pt>
                <c:pt idx="6">
                  <c:v>0.84642861043753503</c:v>
                </c:pt>
                <c:pt idx="7">
                  <c:v>0.74193734472937733</c:v>
                </c:pt>
                <c:pt idx="8">
                  <c:v>0.78311543964913388</c:v>
                </c:pt>
                <c:pt idx="9">
                  <c:v>0.61491722905088764</c:v>
                </c:pt>
                <c:pt idx="10">
                  <c:v>0.7910889124364191</c:v>
                </c:pt>
                <c:pt idx="11">
                  <c:v>0.6448876042767635</c:v>
                </c:pt>
                <c:pt idx="12">
                  <c:v>0.7262853213069872</c:v>
                </c:pt>
                <c:pt idx="13">
                  <c:v>0.82745717791257867</c:v>
                </c:pt>
              </c:numCache>
            </c:numRef>
          </c:xVal>
          <c:yVal>
            <c:numRef>
              <c:f>Summary!$B$53:$O$53</c:f>
              <c:numCache>
                <c:formatCode>_-* #,##0.00_-;\-* #,##0.00_-;_-* "-"_-;_-@_-</c:formatCode>
                <c:ptCount val="14"/>
                <c:pt idx="0">
                  <c:v>-3.3539186208470069</c:v>
                </c:pt>
                <c:pt idx="1">
                  <c:v>-3.1614047578246298</c:v>
                </c:pt>
                <c:pt idx="2">
                  <c:v>-2.9004369798724938</c:v>
                </c:pt>
                <c:pt idx="3">
                  <c:v>-2.139793170202112</c:v>
                </c:pt>
                <c:pt idx="4">
                  <c:v>-2.9813180171406799</c:v>
                </c:pt>
                <c:pt idx="5">
                  <c:v>-2.9128840339525897</c:v>
                </c:pt>
                <c:pt idx="6">
                  <c:v>-3.2548633760875911</c:v>
                </c:pt>
                <c:pt idx="7">
                  <c:v>-3.5515529815019158</c:v>
                </c:pt>
                <c:pt idx="8">
                  <c:v>-3.6188921806763559</c:v>
                </c:pt>
                <c:pt idx="9">
                  <c:v>-3.507007014930239</c:v>
                </c:pt>
                <c:pt idx="10">
                  <c:v>-3.281206429018571</c:v>
                </c:pt>
                <c:pt idx="11">
                  <c:v>-3.5901071719472348</c:v>
                </c:pt>
                <c:pt idx="12">
                  <c:v>-3.8082835151102992</c:v>
                </c:pt>
                <c:pt idx="13">
                  <c:v>-4.44411086728201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926-C94E-806A-746732CA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9502944"/>
        <c:axId val="1248972912"/>
      </c:scatterChart>
      <c:valAx>
        <c:axId val="1249502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0_-;\-* #,##0.00_-;_-* &quot;-&quot;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8972912"/>
        <c:crosses val="autoZero"/>
        <c:crossBetween val="midCat"/>
      </c:valAx>
      <c:valAx>
        <c:axId val="124897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0_-;\-* #,##0.00_-;_-* &quot;-&quot;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95029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95000"/>
          <a:lumOff val="5000"/>
        </a:schemeClr>
      </a:solidFill>
    </a:ln>
    <a:effectLst/>
  </c:spPr>
  <c:txPr>
    <a:bodyPr/>
    <a:lstStyle/>
    <a:p>
      <a:pPr>
        <a:defRPr sz="11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800" b="1" i="0" baseline="0" dirty="0"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TFR vs Life Expectancy, 2045</a:t>
            </a:r>
            <a:endParaRPr lang="en-US" dirty="0"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4.2167547935348604E-2"/>
          <c:y val="0.1100562824265609"/>
          <c:w val="0.90472888505962734"/>
          <c:h val="0.77084780954346066"/>
        </c:manualLayout>
      </c:layout>
      <c:scatterChart>
        <c:scatterStyle val="lineMarker"/>
        <c:varyColors val="0"/>
        <c:ser>
          <c:idx val="0"/>
          <c:order val="0"/>
          <c:tx>
            <c:v>2025</c:v>
          </c:tx>
          <c:spPr>
            <a:ln w="28575">
              <a:noFill/>
            </a:ln>
          </c:spPr>
          <c:dLbls>
            <c:dLbl>
              <c:idx val="13"/>
              <c:layout>
                <c:manualLayout>
                  <c:x val="-2.6864333591377285E-2"/>
                  <c:y val="-5.317659424637374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DI Yogy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B72-204A-BC6E-92F8A0458E79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r>
                      <a:rPr lang="en-US" dirty="0"/>
                      <a:t>NTT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B72-204A-BC6E-92F8A0458E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TABEL PROYEKSI'!$U$4:$U$38</c:f>
              <c:numCache>
                <c:formatCode>General</c:formatCode>
                <c:ptCount val="35"/>
                <c:pt idx="0">
                  <c:v>2.33</c:v>
                </c:pt>
                <c:pt idx="1">
                  <c:v>2.37</c:v>
                </c:pt>
                <c:pt idx="2">
                  <c:v>2.38</c:v>
                </c:pt>
                <c:pt idx="3">
                  <c:v>2.34</c:v>
                </c:pt>
                <c:pt idx="4">
                  <c:v>2.1800000000000002</c:v>
                </c:pt>
                <c:pt idx="5">
                  <c:v>2.2999999999999998</c:v>
                </c:pt>
                <c:pt idx="6">
                  <c:v>2.19</c:v>
                </c:pt>
                <c:pt idx="7">
                  <c:v>2.1800000000000002</c:v>
                </c:pt>
                <c:pt idx="8">
                  <c:v>2.1800000000000002</c:v>
                </c:pt>
                <c:pt idx="9">
                  <c:v>2.14</c:v>
                </c:pt>
                <c:pt idx="10">
                  <c:v>1.88</c:v>
                </c:pt>
                <c:pt idx="11">
                  <c:v>2.0699999999999998</c:v>
                </c:pt>
                <c:pt idx="12">
                  <c:v>1.96</c:v>
                </c:pt>
                <c:pt idx="13">
                  <c:v>1.84</c:v>
                </c:pt>
                <c:pt idx="14">
                  <c:v>1.84</c:v>
                </c:pt>
                <c:pt idx="15">
                  <c:v>2.12</c:v>
                </c:pt>
                <c:pt idx="16">
                  <c:v>1.9</c:v>
                </c:pt>
                <c:pt idx="17">
                  <c:v>2.34</c:v>
                </c:pt>
                <c:pt idx="18">
                  <c:v>2.65</c:v>
                </c:pt>
                <c:pt idx="19">
                  <c:v>2.1800000000000002</c:v>
                </c:pt>
                <c:pt idx="20">
                  <c:v>2.02</c:v>
                </c:pt>
                <c:pt idx="21">
                  <c:v>2.25</c:v>
                </c:pt>
                <c:pt idx="22">
                  <c:v>2.0699999999999998</c:v>
                </c:pt>
                <c:pt idx="23">
                  <c:v>2.3199999999999998</c:v>
                </c:pt>
                <c:pt idx="24">
                  <c:v>2.0099999999999998</c:v>
                </c:pt>
                <c:pt idx="25">
                  <c:v>2.41</c:v>
                </c:pt>
                <c:pt idx="26">
                  <c:v>2.0699999999999998</c:v>
                </c:pt>
                <c:pt idx="27">
                  <c:v>2.39</c:v>
                </c:pt>
                <c:pt idx="28">
                  <c:v>2.12</c:v>
                </c:pt>
                <c:pt idx="29">
                  <c:v>2.42</c:v>
                </c:pt>
                <c:pt idx="30">
                  <c:v>2.41</c:v>
                </c:pt>
                <c:pt idx="31">
                  <c:v>2.36</c:v>
                </c:pt>
                <c:pt idx="32">
                  <c:v>2.44</c:v>
                </c:pt>
                <c:pt idx="33">
                  <c:v>2.37</c:v>
                </c:pt>
                <c:pt idx="34">
                  <c:v>2.1</c:v>
                </c:pt>
              </c:numCache>
            </c:numRef>
          </c:xVal>
          <c:yVal>
            <c:numRef>
              <c:f>'TABEL PROYEKSI'!$V$4:$V$38</c:f>
              <c:numCache>
                <c:formatCode>General</c:formatCode>
                <c:ptCount val="35"/>
                <c:pt idx="0">
                  <c:v>73.3</c:v>
                </c:pt>
                <c:pt idx="1">
                  <c:v>74.099999999999994</c:v>
                </c:pt>
                <c:pt idx="2">
                  <c:v>73.7</c:v>
                </c:pt>
                <c:pt idx="3">
                  <c:v>74.400000000000006</c:v>
                </c:pt>
                <c:pt idx="4">
                  <c:v>73.2</c:v>
                </c:pt>
                <c:pt idx="5">
                  <c:v>74.5</c:v>
                </c:pt>
                <c:pt idx="6">
                  <c:v>71.8</c:v>
                </c:pt>
                <c:pt idx="7">
                  <c:v>74.2</c:v>
                </c:pt>
                <c:pt idx="8">
                  <c:v>73.8</c:v>
                </c:pt>
                <c:pt idx="9">
                  <c:v>75.099999999999994</c:v>
                </c:pt>
                <c:pt idx="10">
                  <c:v>76.2</c:v>
                </c:pt>
                <c:pt idx="11">
                  <c:v>74.5</c:v>
                </c:pt>
                <c:pt idx="12">
                  <c:v>75.2</c:v>
                </c:pt>
                <c:pt idx="13">
                  <c:v>76</c:v>
                </c:pt>
                <c:pt idx="14">
                  <c:v>74.7</c:v>
                </c:pt>
                <c:pt idx="15">
                  <c:v>75</c:v>
                </c:pt>
                <c:pt idx="16">
                  <c:v>74.599999999999994</c:v>
                </c:pt>
                <c:pt idx="17">
                  <c:v>70.2</c:v>
                </c:pt>
                <c:pt idx="18">
                  <c:v>69.5</c:v>
                </c:pt>
                <c:pt idx="19">
                  <c:v>73.7</c:v>
                </c:pt>
                <c:pt idx="20">
                  <c:v>73.5</c:v>
                </c:pt>
                <c:pt idx="21">
                  <c:v>72.900000000000006</c:v>
                </c:pt>
                <c:pt idx="22">
                  <c:v>73.900000000000006</c:v>
                </c:pt>
                <c:pt idx="23">
                  <c:v>74</c:v>
                </c:pt>
                <c:pt idx="24">
                  <c:v>73.3</c:v>
                </c:pt>
                <c:pt idx="25">
                  <c:v>70.099999999999994</c:v>
                </c:pt>
                <c:pt idx="26">
                  <c:v>73.8</c:v>
                </c:pt>
                <c:pt idx="27">
                  <c:v>72.3</c:v>
                </c:pt>
                <c:pt idx="28">
                  <c:v>70</c:v>
                </c:pt>
                <c:pt idx="29">
                  <c:v>69.8</c:v>
                </c:pt>
                <c:pt idx="30">
                  <c:v>70.599999999999994</c:v>
                </c:pt>
                <c:pt idx="31">
                  <c:v>70.900000000000006</c:v>
                </c:pt>
                <c:pt idx="32">
                  <c:v>67.099999999999994</c:v>
                </c:pt>
                <c:pt idx="33">
                  <c:v>68.400000000000006</c:v>
                </c:pt>
                <c:pt idx="34">
                  <c:v>74.0999999999999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B72-204A-BC6E-92F8A0458E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607296"/>
        <c:axId val="57609216"/>
      </c:scatterChart>
      <c:valAx>
        <c:axId val="57607296"/>
        <c:scaling>
          <c:orientation val="minMax"/>
          <c:max val="7.5"/>
          <c:min val="1.5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200" b="1" i="0" baseline="0" dirty="0">
                    <a:effectLst/>
                    <a:latin typeface="Poppins" panose="00000500000000000000" pitchFamily="2" charset="0"/>
                    <a:cs typeface="Poppins" panose="00000500000000000000" pitchFamily="2" charset="0"/>
                  </a:rPr>
                  <a:t>Total Fertility Rate</a:t>
                </a:r>
                <a:endParaRPr lang="en-US" dirty="0">
                  <a:effectLst/>
                  <a:latin typeface="Poppins" panose="00000500000000000000" pitchFamily="2" charset="0"/>
                  <a:cs typeface="Poppins" panose="00000500000000000000" pitchFamily="2" charset="0"/>
                </a:endParaRP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57609216"/>
        <c:crosses val="autoZero"/>
        <c:crossBetween val="midCat"/>
      </c:valAx>
      <c:valAx>
        <c:axId val="57609216"/>
        <c:scaling>
          <c:orientation val="minMax"/>
          <c:max val="80"/>
          <c:min val="6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sz="1100" b="1" i="0" baseline="0" dirty="0">
                    <a:effectLst/>
                    <a:latin typeface="Poppins" panose="00000500000000000000" pitchFamily="2" charset="0"/>
                    <a:cs typeface="Poppins" panose="00000500000000000000" pitchFamily="2" charset="0"/>
                  </a:rPr>
                  <a:t>Life Expectancy Age at Birth</a:t>
                </a:r>
                <a:endParaRPr lang="en-US" sz="600" dirty="0">
                  <a:effectLst/>
                  <a:latin typeface="Poppins" panose="00000500000000000000" pitchFamily="2" charset="0"/>
                  <a:cs typeface="Poppins" panose="00000500000000000000" pitchFamily="2" charset="0"/>
                </a:endParaRP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57607296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13399270451431325"/>
          <c:y val="0.60964802928073303"/>
          <c:w val="0.20991352812650446"/>
          <c:h val="0.11826743331546576"/>
        </c:manualLayout>
      </c:layout>
      <c:overlay val="0"/>
    </c:legend>
    <c:plotVisOnly val="1"/>
    <c:dispBlanksAs val="gap"/>
    <c:showDLblsOverMax val="0"/>
  </c:chart>
  <c:spPr>
    <a:ln>
      <a:solidFill>
        <a:schemeClr val="accent5">
          <a:lumMod val="50000"/>
        </a:schemeClr>
      </a:solidFill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id-ID" dirty="0" err="1"/>
              <a:t>Depedency</a:t>
            </a:r>
            <a:r>
              <a:rPr lang="id-ID" dirty="0"/>
              <a:t> </a:t>
            </a:r>
            <a:r>
              <a:rPr lang="id-ID" dirty="0" err="1"/>
              <a:t>Ratio</a:t>
            </a:r>
            <a:r>
              <a:rPr lang="id-ID" dirty="0"/>
              <a:t> (%)  vs  </a:t>
            </a:r>
            <a:r>
              <a:rPr lang="id-ID" dirty="0" err="1"/>
              <a:t>Poverty</a:t>
            </a:r>
            <a:r>
              <a:rPr lang="id-ID" dirty="0"/>
              <a:t> </a:t>
            </a:r>
            <a:r>
              <a:rPr lang="id-ID" dirty="0" err="1"/>
              <a:t>Rates</a:t>
            </a:r>
            <a:r>
              <a:rPr lang="id-ID" dirty="0"/>
              <a:t> </a:t>
            </a:r>
            <a:r>
              <a:rPr lang="id-ID" dirty="0" err="1"/>
              <a:t>by</a:t>
            </a:r>
            <a:r>
              <a:rPr lang="id-ID" baseline="0" dirty="0"/>
              <a:t> </a:t>
            </a:r>
            <a:r>
              <a:rPr lang="id-ID" dirty="0" err="1"/>
              <a:t>Province</a:t>
            </a:r>
            <a:r>
              <a:rPr lang="id-ID" dirty="0"/>
              <a:t> (%), 2020</a:t>
            </a:r>
          </a:p>
        </c:rich>
      </c:tx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FF0000"/>
              </a:solidFill>
            </c:spPr>
          </c:marker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5E6-F44B-AAA5-85AAFF89D8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trendline>
            <c:trendlineType val="linear"/>
            <c:dispRSqr val="0"/>
            <c:dispEq val="0"/>
          </c:trendline>
          <c:xVal>
            <c:numRef>
              <c:f>'[piramida penduduk jawa tengah (1).xlsx]Dependent Ratio'!$F$4:$F$38</c:f>
              <c:numCache>
                <c:formatCode>0.00</c:formatCode>
                <c:ptCount val="35"/>
                <c:pt idx="0">
                  <c:v>52.053380441114825</c:v>
                </c:pt>
                <c:pt idx="1">
                  <c:v>50.751810357866155</c:v>
                </c:pt>
                <c:pt idx="2">
                  <c:v>52.603203210010882</c:v>
                </c:pt>
                <c:pt idx="3">
                  <c:v>49.818399421537748</c:v>
                </c:pt>
                <c:pt idx="4">
                  <c:v>54.991096090261181</c:v>
                </c:pt>
                <c:pt idx="5">
                  <c:v>53.614490402811569</c:v>
                </c:pt>
                <c:pt idx="6">
                  <c:v>52.297558250095577</c:v>
                </c:pt>
                <c:pt idx="7">
                  <c:v>48.990158368738548</c:v>
                </c:pt>
                <c:pt idx="8">
                  <c:v>52.022159790397424</c:v>
                </c:pt>
                <c:pt idx="9">
                  <c:v>49.534833586990054</c:v>
                </c:pt>
                <c:pt idx="10">
                  <c:v>45.736973123496902</c:v>
                </c:pt>
                <c:pt idx="11">
                  <c:v>51.009382272693991</c:v>
                </c:pt>
                <c:pt idx="12">
                  <c:v>48.583748226537764</c:v>
                </c:pt>
                <c:pt idx="13">
                  <c:v>49.604438595625076</c:v>
                </c:pt>
                <c:pt idx="14">
                  <c:v>48.100692670498027</c:v>
                </c:pt>
                <c:pt idx="15">
                  <c:v>47.236722023258068</c:v>
                </c:pt>
                <c:pt idx="16">
                  <c:v>44.877044862294461</c:v>
                </c:pt>
                <c:pt idx="17">
                  <c:v>47.304684838261963</c:v>
                </c:pt>
                <c:pt idx="18">
                  <c:v>43.637058678027614</c:v>
                </c:pt>
                <c:pt idx="19">
                  <c:v>50.216577343807359</c:v>
                </c:pt>
                <c:pt idx="20">
                  <c:v>46.030700120149092</c:v>
                </c:pt>
                <c:pt idx="21">
                  <c:v>45.911398057855699</c:v>
                </c:pt>
                <c:pt idx="22">
                  <c:v>46.761666194032202</c:v>
                </c:pt>
                <c:pt idx="23">
                  <c:v>46.170791114726462</c:v>
                </c:pt>
                <c:pt idx="24">
                  <c:v>46.111254311591566</c:v>
                </c:pt>
                <c:pt idx="25">
                  <c:v>48.666226387475191</c:v>
                </c:pt>
                <c:pt idx="26">
                  <c:v>51.236430955324138</c:v>
                </c:pt>
                <c:pt idx="27">
                  <c:v>52.988622035489286</c:v>
                </c:pt>
                <c:pt idx="28">
                  <c:v>51.03157316179464</c:v>
                </c:pt>
                <c:pt idx="29">
                  <c:v>41.54497081643656</c:v>
                </c:pt>
                <c:pt idx="30">
                  <c:v>40.268563007116754</c:v>
                </c:pt>
                <c:pt idx="31">
                  <c:v>42.585043521473445</c:v>
                </c:pt>
                <c:pt idx="32">
                  <c:v>38.880990590987984</c:v>
                </c:pt>
                <c:pt idx="33">
                  <c:v>43.631425800193988</c:v>
                </c:pt>
                <c:pt idx="34">
                  <c:v>44.719967054947638</c:v>
                </c:pt>
              </c:numCache>
            </c:numRef>
          </c:xVal>
          <c:yVal>
            <c:numRef>
              <c:f>'[piramida penduduk jawa tengah (1).xlsx]Dependent Ratio'!$J$4:$J$38</c:f>
              <c:numCache>
                <c:formatCode>General</c:formatCode>
                <c:ptCount val="35"/>
                <c:pt idx="0">
                  <c:v>14.39</c:v>
                </c:pt>
                <c:pt idx="1">
                  <c:v>17.52</c:v>
                </c:pt>
                <c:pt idx="2">
                  <c:v>19.7</c:v>
                </c:pt>
                <c:pt idx="3">
                  <c:v>18.37</c:v>
                </c:pt>
                <c:pt idx="4">
                  <c:v>20.440000000000001</c:v>
                </c:pt>
                <c:pt idx="5">
                  <c:v>14.27</c:v>
                </c:pt>
                <c:pt idx="6">
                  <c:v>21.45</c:v>
                </c:pt>
                <c:pt idx="7">
                  <c:v>13.07</c:v>
                </c:pt>
                <c:pt idx="8">
                  <c:v>12.45</c:v>
                </c:pt>
                <c:pt idx="9">
                  <c:v>14.89</c:v>
                </c:pt>
                <c:pt idx="10">
                  <c:v>9.26</c:v>
                </c:pt>
                <c:pt idx="11">
                  <c:v>12.98</c:v>
                </c:pt>
                <c:pt idx="12">
                  <c:v>12.46</c:v>
                </c:pt>
                <c:pt idx="13">
                  <c:v>14.86</c:v>
                </c:pt>
                <c:pt idx="14">
                  <c:v>13.68</c:v>
                </c:pt>
                <c:pt idx="15">
                  <c:v>13.52</c:v>
                </c:pt>
                <c:pt idx="16">
                  <c:v>19.28</c:v>
                </c:pt>
                <c:pt idx="17">
                  <c:v>11.95</c:v>
                </c:pt>
                <c:pt idx="18">
                  <c:v>7.73</c:v>
                </c:pt>
                <c:pt idx="19">
                  <c:v>8.5</c:v>
                </c:pt>
                <c:pt idx="20">
                  <c:v>14.44</c:v>
                </c:pt>
                <c:pt idx="21">
                  <c:v>8.15</c:v>
                </c:pt>
                <c:pt idx="22">
                  <c:v>11.76</c:v>
                </c:pt>
                <c:pt idx="23">
                  <c:v>11.62</c:v>
                </c:pt>
                <c:pt idx="24">
                  <c:v>11.27</c:v>
                </c:pt>
                <c:pt idx="25">
                  <c:v>12.84</c:v>
                </c:pt>
                <c:pt idx="26">
                  <c:v>18.3</c:v>
                </c:pt>
                <c:pt idx="27">
                  <c:v>10.09</c:v>
                </c:pt>
                <c:pt idx="28">
                  <c:v>19.79</c:v>
                </c:pt>
                <c:pt idx="29">
                  <c:v>9.0500000000000007</c:v>
                </c:pt>
                <c:pt idx="30">
                  <c:v>10.89</c:v>
                </c:pt>
                <c:pt idx="31">
                  <c:v>5.8</c:v>
                </c:pt>
                <c:pt idx="32">
                  <c:v>4.97</c:v>
                </c:pt>
                <c:pt idx="33">
                  <c:v>8.09</c:v>
                </c:pt>
                <c:pt idx="34">
                  <c:v>8.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927-A841-A19C-958EC2B143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196672"/>
        <c:axId val="150868352"/>
      </c:scatterChart>
      <c:valAx>
        <c:axId val="139196672"/>
        <c:scaling>
          <c:orientation val="minMax"/>
          <c:min val="4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Depedency Ratio</a:t>
                </a:r>
                <a:r>
                  <a:rPr lang="id-ID"/>
                  <a:t> (</a:t>
                </a:r>
                <a:r>
                  <a:rPr lang="en-US"/>
                  <a:t>Children</a:t>
                </a:r>
                <a:r>
                  <a:rPr lang="id-ID"/>
                  <a:t>+</a:t>
                </a:r>
                <a:r>
                  <a:rPr lang="en-US"/>
                  <a:t>Old-Age</a:t>
                </a:r>
                <a:r>
                  <a:rPr lang="id-ID"/>
                  <a:t>/</a:t>
                </a:r>
                <a:r>
                  <a:rPr lang="en-US"/>
                  <a:t>Youth</a:t>
                </a:r>
                <a:r>
                  <a:rPr lang="id-ID"/>
                  <a:t>)</a:t>
                </a: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crossAx val="150868352"/>
        <c:crosses val="autoZero"/>
        <c:crossBetween val="midCat"/>
      </c:valAx>
      <c:valAx>
        <c:axId val="15086835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overty Rate</a:t>
                </a:r>
                <a:endParaRPr lang="id-ID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139196672"/>
        <c:crosses val="autoZero"/>
        <c:crossBetween val="midCat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mate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C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C$5:$C$102</c:f>
              <c:numCache>
                <c:formatCode>_(* #,##0_);_(* \(#,##0\);_(* "-"_);_(@_)</c:formatCode>
                <c:ptCount val="98"/>
                <c:pt idx="0">
                  <c:v>141119.69574264836</c:v>
                </c:pt>
                <c:pt idx="1">
                  <c:v>84272.695619561549</c:v>
                </c:pt>
                <c:pt idx="2">
                  <c:v>83889.526154109044</c:v>
                </c:pt>
                <c:pt idx="3">
                  <c:v>98162.998650950991</c:v>
                </c:pt>
                <c:pt idx="4">
                  <c:v>83667.716438174393</c:v>
                </c:pt>
                <c:pt idx="5">
                  <c:v>72917.756257556204</c:v>
                </c:pt>
                <c:pt idx="6">
                  <c:v>61269.432051191914</c:v>
                </c:pt>
                <c:pt idx="7">
                  <c:v>68526.225265475208</c:v>
                </c:pt>
                <c:pt idx="8">
                  <c:v>63473.957709785478</c:v>
                </c:pt>
                <c:pt idx="9">
                  <c:v>65838.013774906663</c:v>
                </c:pt>
                <c:pt idx="10">
                  <c:v>67066.522830651302</c:v>
                </c:pt>
                <c:pt idx="11">
                  <c:v>66966.17804574703</c:v>
                </c:pt>
                <c:pt idx="12">
                  <c:v>67555.396738640062</c:v>
                </c:pt>
                <c:pt idx="13">
                  <c:v>59877.149038486968</c:v>
                </c:pt>
                <c:pt idx="14">
                  <c:v>63003.209839124233</c:v>
                </c:pt>
                <c:pt idx="15">
                  <c:v>72925.054492783645</c:v>
                </c:pt>
                <c:pt idx="16">
                  <c:v>75734.405873397962</c:v>
                </c:pt>
                <c:pt idx="17">
                  <c:v>82719.085779589528</c:v>
                </c:pt>
                <c:pt idx="18">
                  <c:v>76219.913588389172</c:v>
                </c:pt>
                <c:pt idx="19">
                  <c:v>77654.095261321228</c:v>
                </c:pt>
                <c:pt idx="20">
                  <c:v>69909.791360637872</c:v>
                </c:pt>
                <c:pt idx="21">
                  <c:v>85942.164155508799</c:v>
                </c:pt>
                <c:pt idx="22">
                  <c:v>79198.643858857977</c:v>
                </c:pt>
                <c:pt idx="23">
                  <c:v>92620.167294080558</c:v>
                </c:pt>
                <c:pt idx="24">
                  <c:v>93487.119058207696</c:v>
                </c:pt>
                <c:pt idx="25">
                  <c:v>99198.608185997087</c:v>
                </c:pt>
                <c:pt idx="26">
                  <c:v>99745.448432634992</c:v>
                </c:pt>
                <c:pt idx="27">
                  <c:v>113415.17488792731</c:v>
                </c:pt>
                <c:pt idx="28">
                  <c:v>105662.18410069446</c:v>
                </c:pt>
                <c:pt idx="29">
                  <c:v>104541.63651558738</c:v>
                </c:pt>
                <c:pt idx="30">
                  <c:v>95069.787568720029</c:v>
                </c:pt>
                <c:pt idx="31">
                  <c:v>113591.72288534771</c:v>
                </c:pt>
                <c:pt idx="32">
                  <c:v>105530.81515917169</c:v>
                </c:pt>
                <c:pt idx="33">
                  <c:v>100954.35471528</c:v>
                </c:pt>
                <c:pt idx="34">
                  <c:v>108062.1259678967</c:v>
                </c:pt>
                <c:pt idx="35">
                  <c:v>93593.029292690262</c:v>
                </c:pt>
                <c:pt idx="36">
                  <c:v>101190.34245224396</c:v>
                </c:pt>
                <c:pt idx="37">
                  <c:v>103768.42726852304</c:v>
                </c:pt>
                <c:pt idx="38">
                  <c:v>104510.02683822461</c:v>
                </c:pt>
                <c:pt idx="39">
                  <c:v>97449.367518354382</c:v>
                </c:pt>
                <c:pt idx="40">
                  <c:v>94262.594750235599</c:v>
                </c:pt>
                <c:pt idx="41">
                  <c:v>96043.060812646276</c:v>
                </c:pt>
                <c:pt idx="42">
                  <c:v>91817.386809112402</c:v>
                </c:pt>
                <c:pt idx="43">
                  <c:v>89127.060537210666</c:v>
                </c:pt>
                <c:pt idx="44">
                  <c:v>91964.47024502221</c:v>
                </c:pt>
                <c:pt idx="45">
                  <c:v>92327.488886525243</c:v>
                </c:pt>
                <c:pt idx="46">
                  <c:v>93113.451665585919</c:v>
                </c:pt>
                <c:pt idx="47">
                  <c:v>97772.841927342379</c:v>
                </c:pt>
                <c:pt idx="48">
                  <c:v>98340.224119879582</c:v>
                </c:pt>
                <c:pt idx="49">
                  <c:v>119744.67750193238</c:v>
                </c:pt>
                <c:pt idx="50">
                  <c:v>103601.08027103996</c:v>
                </c:pt>
                <c:pt idx="51">
                  <c:v>103213.24989833374</c:v>
                </c:pt>
                <c:pt idx="52">
                  <c:v>118038.61030622132</c:v>
                </c:pt>
                <c:pt idx="53">
                  <c:v>113128.88249550926</c:v>
                </c:pt>
                <c:pt idx="54">
                  <c:v>115249.55427405851</c:v>
                </c:pt>
                <c:pt idx="55">
                  <c:v>106471.99866141721</c:v>
                </c:pt>
                <c:pt idx="56">
                  <c:v>104791.3423226171</c:v>
                </c:pt>
                <c:pt idx="57">
                  <c:v>157288.70270811499</c:v>
                </c:pt>
                <c:pt idx="58">
                  <c:v>118739.36421872387</c:v>
                </c:pt>
                <c:pt idx="59">
                  <c:v>130787.58336342902</c:v>
                </c:pt>
                <c:pt idx="60">
                  <c:v>132805.88530781056</c:v>
                </c:pt>
                <c:pt idx="61">
                  <c:v>133536.69447865483</c:v>
                </c:pt>
                <c:pt idx="62">
                  <c:v>149079.78983136493</c:v>
                </c:pt>
                <c:pt idx="63">
                  <c:v>141424.79982160835</c:v>
                </c:pt>
                <c:pt idx="64">
                  <c:v>132345.77755568348</c:v>
                </c:pt>
                <c:pt idx="65">
                  <c:v>174265.29490365807</c:v>
                </c:pt>
                <c:pt idx="66">
                  <c:v>199785.74941248188</c:v>
                </c:pt>
                <c:pt idx="67">
                  <c:v>145818.67036870361</c:v>
                </c:pt>
                <c:pt idx="68">
                  <c:v>171822.98969080849</c:v>
                </c:pt>
                <c:pt idx="69">
                  <c:v>187499.5608126132</c:v>
                </c:pt>
                <c:pt idx="70">
                  <c:v>137537.65124699057</c:v>
                </c:pt>
                <c:pt idx="71">
                  <c:v>187923.64306398464</c:v>
                </c:pt>
                <c:pt idx="72">
                  <c:v>167080.58160642476</c:v>
                </c:pt>
                <c:pt idx="73">
                  <c:v>185949.45892811476</c:v>
                </c:pt>
                <c:pt idx="74">
                  <c:v>201723.09101530502</c:v>
                </c:pt>
                <c:pt idx="75">
                  <c:v>230143.24883754682</c:v>
                </c:pt>
                <c:pt idx="76">
                  <c:v>150879.97463840456</c:v>
                </c:pt>
                <c:pt idx="77">
                  <c:v>109920.76009471616</c:v>
                </c:pt>
                <c:pt idx="78">
                  <c:v>121632.23984329173</c:v>
                </c:pt>
                <c:pt idx="79">
                  <c:v>105851.7974061671</c:v>
                </c:pt>
                <c:pt idx="80">
                  <c:v>101017.33521228046</c:v>
                </c:pt>
                <c:pt idx="81">
                  <c:v>139925.93027061634</c:v>
                </c:pt>
                <c:pt idx="82">
                  <c:v>144475.19939465416</c:v>
                </c:pt>
                <c:pt idx="83">
                  <c:v>88951.028098336261</c:v>
                </c:pt>
                <c:pt idx="84">
                  <c:v>58825.030215557279</c:v>
                </c:pt>
                <c:pt idx="85">
                  <c:v>105971.14792396025</c:v>
                </c:pt>
                <c:pt idx="86">
                  <c:v>78419.541916924922</c:v>
                </c:pt>
                <c:pt idx="87">
                  <c:v>69153.75230726719</c:v>
                </c:pt>
                <c:pt idx="88">
                  <c:v>135159.91970354592</c:v>
                </c:pt>
                <c:pt idx="89">
                  <c:v>138973.07171868038</c:v>
                </c:pt>
                <c:pt idx="90">
                  <c:v>123584.36447582318</c:v>
                </c:pt>
                <c:pt idx="91">
                  <c:v>108689.7160403256</c:v>
                </c:pt>
                <c:pt idx="92">
                  <c:v>44967.249948198682</c:v>
                </c:pt>
                <c:pt idx="93">
                  <c:v>130102.62599481693</c:v>
                </c:pt>
                <c:pt idx="94">
                  <c:v>83246.106107349449</c:v>
                </c:pt>
                <c:pt idx="95">
                  <c:v>415809.12163954449</c:v>
                </c:pt>
                <c:pt idx="96">
                  <c:v>79075.314443573865</c:v>
                </c:pt>
                <c:pt idx="97">
                  <c:v>59880.551838660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F3-4591-8F16-7DB1654561E4}"/>
            </c:ext>
          </c:extLst>
        </c:ser>
        <c:ser>
          <c:idx val="1"/>
          <c:order val="1"/>
          <c:tx>
            <c:strRef>
              <c:f>'GRAFIK (2019)'!$D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D$5:$D$102</c:f>
              <c:numCache>
                <c:formatCode>_(* #,##0_);_(* \(#,##0\);_(* "-"_);_(@_)</c:formatCode>
                <c:ptCount val="98"/>
                <c:pt idx="0">
                  <c:v>50.0708477151964</c:v>
                </c:pt>
                <c:pt idx="1">
                  <c:v>595.171135053679</c:v>
                </c:pt>
                <c:pt idx="2">
                  <c:v>4891.7577126543683</c:v>
                </c:pt>
                <c:pt idx="3">
                  <c:v>16460.830849767113</c:v>
                </c:pt>
                <c:pt idx="4">
                  <c:v>47887.156775224648</c:v>
                </c:pt>
                <c:pt idx="5">
                  <c:v>183313.99269231112</c:v>
                </c:pt>
                <c:pt idx="6">
                  <c:v>471947.28651621623</c:v>
                </c:pt>
                <c:pt idx="7">
                  <c:v>691909.82386376592</c:v>
                </c:pt>
                <c:pt idx="8">
                  <c:v>691410.19896443072</c:v>
                </c:pt>
                <c:pt idx="9">
                  <c:v>679114.04867036524</c:v>
                </c:pt>
                <c:pt idx="10">
                  <c:v>699534.33849747153</c:v>
                </c:pt>
                <c:pt idx="11">
                  <c:v>715687.89400056447</c:v>
                </c:pt>
                <c:pt idx="12">
                  <c:v>738322.32134161901</c:v>
                </c:pt>
                <c:pt idx="13">
                  <c:v>788696.51477451518</c:v>
                </c:pt>
                <c:pt idx="14">
                  <c:v>793388.16696371138</c:v>
                </c:pt>
                <c:pt idx="15">
                  <c:v>1049364.9386423738</c:v>
                </c:pt>
                <c:pt idx="16">
                  <c:v>1156881.1558013312</c:v>
                </c:pt>
                <c:pt idx="17">
                  <c:v>1123449.9723168546</c:v>
                </c:pt>
                <c:pt idx="18">
                  <c:v>936894.48277234379</c:v>
                </c:pt>
                <c:pt idx="19">
                  <c:v>723024.96577709808</c:v>
                </c:pt>
                <c:pt idx="20">
                  <c:v>709720.54022711597</c:v>
                </c:pt>
                <c:pt idx="21">
                  <c:v>743084.72101133456</c:v>
                </c:pt>
                <c:pt idx="22">
                  <c:v>534387.75544853602</c:v>
                </c:pt>
                <c:pt idx="23">
                  <c:v>425219.32851465966</c:v>
                </c:pt>
                <c:pt idx="24">
                  <c:v>260001.76502136167</c:v>
                </c:pt>
                <c:pt idx="25">
                  <c:v>239505.25052622944</c:v>
                </c:pt>
                <c:pt idx="26">
                  <c:v>101277.60809317387</c:v>
                </c:pt>
                <c:pt idx="27">
                  <c:v>26427.976438485413</c:v>
                </c:pt>
                <c:pt idx="28">
                  <c:v>10114.390514689045</c:v>
                </c:pt>
                <c:pt idx="29">
                  <c:v>10419.349856435427</c:v>
                </c:pt>
                <c:pt idx="30">
                  <c:v>32306.30709967867</c:v>
                </c:pt>
                <c:pt idx="31">
                  <c:v>5793.2675258472336</c:v>
                </c:pt>
                <c:pt idx="32">
                  <c:v>4472.8000191767924</c:v>
                </c:pt>
                <c:pt idx="33">
                  <c:v>2801.6457283725395</c:v>
                </c:pt>
                <c:pt idx="34">
                  <c:v>5106.9899225208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F3-4591-8F16-7DB1654561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awa</a:t>
            </a:r>
            <a:r>
              <a:rPr lang="en-US" baseline="0"/>
              <a:t> Bali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E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E$5:$E$102</c:f>
              <c:numCache>
                <c:formatCode>_(* #,##0_);_(* \(#,##0\);_(* "-"_);_(@_)</c:formatCode>
                <c:ptCount val="98"/>
                <c:pt idx="0">
                  <c:v>212745.88678192045</c:v>
                </c:pt>
                <c:pt idx="1">
                  <c:v>133151.53105226642</c:v>
                </c:pt>
                <c:pt idx="2">
                  <c:v>107603.27715502756</c:v>
                </c:pt>
                <c:pt idx="3">
                  <c:v>116752.55879240586</c:v>
                </c:pt>
                <c:pt idx="4">
                  <c:v>109578.89264690896</c:v>
                </c:pt>
                <c:pt idx="5">
                  <c:v>81679.132413327054</c:v>
                </c:pt>
                <c:pt idx="6">
                  <c:v>85241.547260967287</c:v>
                </c:pt>
                <c:pt idx="7">
                  <c:v>87326.118930938857</c:v>
                </c:pt>
                <c:pt idx="8">
                  <c:v>83500.92863287669</c:v>
                </c:pt>
                <c:pt idx="9">
                  <c:v>86682.555337473634</c:v>
                </c:pt>
                <c:pt idx="10">
                  <c:v>82909.606850832104</c:v>
                </c:pt>
                <c:pt idx="11">
                  <c:v>85655.469122603885</c:v>
                </c:pt>
                <c:pt idx="12">
                  <c:v>81657.075423962611</c:v>
                </c:pt>
                <c:pt idx="13">
                  <c:v>88402.45311128936</c:v>
                </c:pt>
                <c:pt idx="14">
                  <c:v>86501.813464717183</c:v>
                </c:pt>
                <c:pt idx="15">
                  <c:v>107235.31385342804</c:v>
                </c:pt>
                <c:pt idx="16">
                  <c:v>118840.75994155068</c:v>
                </c:pt>
                <c:pt idx="17">
                  <c:v>102183.07950853108</c:v>
                </c:pt>
                <c:pt idx="18">
                  <c:v>102372.40851860138</c:v>
                </c:pt>
                <c:pt idx="19">
                  <c:v>99943.655069909553</c:v>
                </c:pt>
                <c:pt idx="20">
                  <c:v>102685.43596949283</c:v>
                </c:pt>
                <c:pt idx="21">
                  <c:v>120675.08706119109</c:v>
                </c:pt>
                <c:pt idx="22">
                  <c:v>108915.55542556621</c:v>
                </c:pt>
                <c:pt idx="23">
                  <c:v>129601.25616756896</c:v>
                </c:pt>
                <c:pt idx="24">
                  <c:v>133964.46863269518</c:v>
                </c:pt>
                <c:pt idx="25">
                  <c:v>139119.95357701764</c:v>
                </c:pt>
                <c:pt idx="26">
                  <c:v>153422.58430496504</c:v>
                </c:pt>
                <c:pt idx="27">
                  <c:v>135651.10443999962</c:v>
                </c:pt>
                <c:pt idx="28">
                  <c:v>150392.82535959626</c:v>
                </c:pt>
                <c:pt idx="29">
                  <c:v>141014.32922918545</c:v>
                </c:pt>
                <c:pt idx="30">
                  <c:v>139376.26485527042</c:v>
                </c:pt>
                <c:pt idx="31">
                  <c:v>122109.5858161307</c:v>
                </c:pt>
                <c:pt idx="32">
                  <c:v>134864.14076403141</c:v>
                </c:pt>
                <c:pt idx="33">
                  <c:v>140513.58269023371</c:v>
                </c:pt>
                <c:pt idx="34">
                  <c:v>151819.11408208834</c:v>
                </c:pt>
                <c:pt idx="35">
                  <c:v>143330.56002433423</c:v>
                </c:pt>
                <c:pt idx="36">
                  <c:v>142013.67447228322</c:v>
                </c:pt>
                <c:pt idx="37">
                  <c:v>141176.26710784226</c:v>
                </c:pt>
                <c:pt idx="38">
                  <c:v>127773.25582075685</c:v>
                </c:pt>
                <c:pt idx="39">
                  <c:v>139015.83121640893</c:v>
                </c:pt>
                <c:pt idx="40">
                  <c:v>140293.64274053246</c:v>
                </c:pt>
                <c:pt idx="41">
                  <c:v>134538.25529435504</c:v>
                </c:pt>
                <c:pt idx="42">
                  <c:v>127118.4132847116</c:v>
                </c:pt>
                <c:pt idx="43">
                  <c:v>131762.630658679</c:v>
                </c:pt>
                <c:pt idx="44">
                  <c:v>121501.01121659047</c:v>
                </c:pt>
                <c:pt idx="45">
                  <c:v>131493.57011691906</c:v>
                </c:pt>
                <c:pt idx="46">
                  <c:v>139486.0594055744</c:v>
                </c:pt>
                <c:pt idx="47">
                  <c:v>140045.85605972289</c:v>
                </c:pt>
                <c:pt idx="48">
                  <c:v>137150.70296344507</c:v>
                </c:pt>
                <c:pt idx="49">
                  <c:v>145469.03979500625</c:v>
                </c:pt>
                <c:pt idx="50">
                  <c:v>146069.14695367269</c:v>
                </c:pt>
                <c:pt idx="51">
                  <c:v>140690.58908821872</c:v>
                </c:pt>
                <c:pt idx="52">
                  <c:v>158588.06591464937</c:v>
                </c:pt>
                <c:pt idx="53">
                  <c:v>166391.29141390027</c:v>
                </c:pt>
                <c:pt idx="54">
                  <c:v>147925.7443091122</c:v>
                </c:pt>
                <c:pt idx="55">
                  <c:v>167755.03311272446</c:v>
                </c:pt>
                <c:pt idx="56">
                  <c:v>182961.62114868089</c:v>
                </c:pt>
                <c:pt idx="57">
                  <c:v>167361.61666628064</c:v>
                </c:pt>
                <c:pt idx="58">
                  <c:v>185680.89345439905</c:v>
                </c:pt>
                <c:pt idx="59">
                  <c:v>189102.475309573</c:v>
                </c:pt>
                <c:pt idx="60">
                  <c:v>169265.81646221003</c:v>
                </c:pt>
                <c:pt idx="61">
                  <c:v>181644.17288124331</c:v>
                </c:pt>
                <c:pt idx="62">
                  <c:v>204064.22754608141</c:v>
                </c:pt>
                <c:pt idx="63">
                  <c:v>221657.03756130641</c:v>
                </c:pt>
                <c:pt idx="64">
                  <c:v>222667.59040635408</c:v>
                </c:pt>
                <c:pt idx="65">
                  <c:v>227041.60245344369</c:v>
                </c:pt>
                <c:pt idx="66">
                  <c:v>256018.45158236858</c:v>
                </c:pt>
                <c:pt idx="67">
                  <c:v>220681.1508625779</c:v>
                </c:pt>
                <c:pt idx="68">
                  <c:v>199574.73136440077</c:v>
                </c:pt>
                <c:pt idx="69">
                  <c:v>224894.87941051665</c:v>
                </c:pt>
                <c:pt idx="70">
                  <c:v>285189.86011429166</c:v>
                </c:pt>
                <c:pt idx="71">
                  <c:v>254968.96242848874</c:v>
                </c:pt>
                <c:pt idx="72">
                  <c:v>241677.62165046006</c:v>
                </c:pt>
                <c:pt idx="73">
                  <c:v>220167.12356914452</c:v>
                </c:pt>
                <c:pt idx="74">
                  <c:v>185821.25521411424</c:v>
                </c:pt>
                <c:pt idx="75">
                  <c:v>188915.58155884556</c:v>
                </c:pt>
                <c:pt idx="76">
                  <c:v>203758.76019885554</c:v>
                </c:pt>
                <c:pt idx="77">
                  <c:v>193875.30609262659</c:v>
                </c:pt>
                <c:pt idx="78">
                  <c:v>170986.35374680467</c:v>
                </c:pt>
                <c:pt idx="79">
                  <c:v>165662.59523508619</c:v>
                </c:pt>
                <c:pt idx="80">
                  <c:v>208948.10285633485</c:v>
                </c:pt>
                <c:pt idx="81">
                  <c:v>176908.58419090352</c:v>
                </c:pt>
                <c:pt idx="82">
                  <c:v>207979.35177002309</c:v>
                </c:pt>
                <c:pt idx="83">
                  <c:v>164260.91787666618</c:v>
                </c:pt>
                <c:pt idx="84">
                  <c:v>171043.62020594644</c:v>
                </c:pt>
                <c:pt idx="85">
                  <c:v>262774.49551811925</c:v>
                </c:pt>
                <c:pt idx="86">
                  <c:v>142510.38075719916</c:v>
                </c:pt>
                <c:pt idx="87">
                  <c:v>129356.56130708403</c:v>
                </c:pt>
                <c:pt idx="88">
                  <c:v>157601.80175374562</c:v>
                </c:pt>
                <c:pt idx="89">
                  <c:v>115749.18664526855</c:v>
                </c:pt>
                <c:pt idx="90">
                  <c:v>56069.030552103752</c:v>
                </c:pt>
                <c:pt idx="91">
                  <c:v>125210.8292099134</c:v>
                </c:pt>
                <c:pt idx="92">
                  <c:v>32352.101009208771</c:v>
                </c:pt>
                <c:pt idx="93">
                  <c:v>155749.9867437763</c:v>
                </c:pt>
                <c:pt idx="94">
                  <c:v>106811.09712814646</c:v>
                </c:pt>
                <c:pt idx="95">
                  <c:v>171944.21981753714</c:v>
                </c:pt>
                <c:pt idx="96">
                  <c:v>343215.47934843152</c:v>
                </c:pt>
                <c:pt idx="97">
                  <c:v>351901.34724808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C4-44F6-B6BC-D467DC207466}"/>
            </c:ext>
          </c:extLst>
        </c:ser>
        <c:ser>
          <c:idx val="1"/>
          <c:order val="1"/>
          <c:tx>
            <c:strRef>
              <c:f>'GRAFIK (2019)'!$F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F$5:$F$102</c:f>
              <c:numCache>
                <c:formatCode>_(* #,##0_);_(* \(#,##0\);_(* "-"_);_(@_)</c:formatCode>
                <c:ptCount val="98"/>
                <c:pt idx="0">
                  <c:v>173.97334544239249</c:v>
                </c:pt>
                <c:pt idx="1">
                  <c:v>1144.4396929038364</c:v>
                </c:pt>
                <c:pt idx="2">
                  <c:v>15776.185805793717</c:v>
                </c:pt>
                <c:pt idx="3">
                  <c:v>49242.537262529062</c:v>
                </c:pt>
                <c:pt idx="4">
                  <c:v>156573.54494256963</c:v>
                </c:pt>
                <c:pt idx="5">
                  <c:v>301457.60143874993</c:v>
                </c:pt>
                <c:pt idx="6">
                  <c:v>490003.98728509492</c:v>
                </c:pt>
                <c:pt idx="7">
                  <c:v>816640.11132731428</c:v>
                </c:pt>
                <c:pt idx="8">
                  <c:v>799490.12436865317</c:v>
                </c:pt>
                <c:pt idx="9">
                  <c:v>777733.51418379601</c:v>
                </c:pt>
                <c:pt idx="10">
                  <c:v>807887.01533435239</c:v>
                </c:pt>
                <c:pt idx="11">
                  <c:v>831350.13009890937</c:v>
                </c:pt>
                <c:pt idx="12">
                  <c:v>898287.3156356673</c:v>
                </c:pt>
                <c:pt idx="13">
                  <c:v>941934.01627700869</c:v>
                </c:pt>
                <c:pt idx="14">
                  <c:v>949461.80768073001</c:v>
                </c:pt>
                <c:pt idx="15">
                  <c:v>1317857.1201802907</c:v>
                </c:pt>
                <c:pt idx="16">
                  <c:v>1354028.460202259</c:v>
                </c:pt>
                <c:pt idx="17">
                  <c:v>1249055.2938038104</c:v>
                </c:pt>
                <c:pt idx="18">
                  <c:v>1207581.344805616</c:v>
                </c:pt>
                <c:pt idx="19">
                  <c:v>1014246.9687587514</c:v>
                </c:pt>
                <c:pt idx="20">
                  <c:v>1030708.8459545192</c:v>
                </c:pt>
                <c:pt idx="21">
                  <c:v>993389.06955599599</c:v>
                </c:pt>
                <c:pt idx="22">
                  <c:v>681200.98776198376</c:v>
                </c:pt>
                <c:pt idx="23">
                  <c:v>441663.137289659</c:v>
                </c:pt>
                <c:pt idx="24">
                  <c:v>387301.30134763895</c:v>
                </c:pt>
                <c:pt idx="25">
                  <c:v>235407.76560650644</c:v>
                </c:pt>
                <c:pt idx="26">
                  <c:v>112542.8447939746</c:v>
                </c:pt>
                <c:pt idx="27">
                  <c:v>52085.475984446028</c:v>
                </c:pt>
                <c:pt idx="28">
                  <c:v>45110.460981698277</c:v>
                </c:pt>
                <c:pt idx="29">
                  <c:v>20570.959767443601</c:v>
                </c:pt>
                <c:pt idx="30">
                  <c:v>13430.640742995318</c:v>
                </c:pt>
                <c:pt idx="31">
                  <c:v>17505.8987120239</c:v>
                </c:pt>
                <c:pt idx="32">
                  <c:v>18050.01663023213</c:v>
                </c:pt>
                <c:pt idx="33">
                  <c:v>12813.782565549838</c:v>
                </c:pt>
                <c:pt idx="34">
                  <c:v>5045.0972481431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C4-44F6-B6BC-D467DC207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sa</a:t>
            </a:r>
            <a:r>
              <a:rPr lang="en-US" baseline="0"/>
              <a:t>Tenggar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G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G$5:$G$102</c:f>
              <c:numCache>
                <c:formatCode>_(* #,##0_);_(* \(#,##0\);_(* "-"_);_(@_)</c:formatCode>
                <c:ptCount val="98"/>
                <c:pt idx="0">
                  <c:v>174096.63940492654</c:v>
                </c:pt>
                <c:pt idx="1">
                  <c:v>156344.92326015577</c:v>
                </c:pt>
                <c:pt idx="2">
                  <c:v>134559.70082366871</c:v>
                </c:pt>
                <c:pt idx="3">
                  <c:v>134021.88547530465</c:v>
                </c:pt>
                <c:pt idx="4">
                  <c:v>130141.29625770389</c:v>
                </c:pt>
                <c:pt idx="5">
                  <c:v>117279.5999317253</c:v>
                </c:pt>
                <c:pt idx="6">
                  <c:v>109974.68774269178</c:v>
                </c:pt>
                <c:pt idx="7">
                  <c:v>106858.11033888053</c:v>
                </c:pt>
                <c:pt idx="8">
                  <c:v>105706.51679137927</c:v>
                </c:pt>
                <c:pt idx="9">
                  <c:v>100768.55742022826</c:v>
                </c:pt>
                <c:pt idx="10">
                  <c:v>111245.05996612186</c:v>
                </c:pt>
                <c:pt idx="11">
                  <c:v>113686.20526430097</c:v>
                </c:pt>
                <c:pt idx="12">
                  <c:v>130122.52895963498</c:v>
                </c:pt>
                <c:pt idx="13">
                  <c:v>110425.94029669365</c:v>
                </c:pt>
                <c:pt idx="14">
                  <c:v>107244.74639263582</c:v>
                </c:pt>
                <c:pt idx="15">
                  <c:v>129528.61775625485</c:v>
                </c:pt>
                <c:pt idx="16">
                  <c:v>107040.39177522232</c:v>
                </c:pt>
                <c:pt idx="17">
                  <c:v>121602.85032966515</c:v>
                </c:pt>
                <c:pt idx="18">
                  <c:v>112610.71405911678</c:v>
                </c:pt>
                <c:pt idx="19">
                  <c:v>108480.12678929928</c:v>
                </c:pt>
                <c:pt idx="20">
                  <c:v>126795.415930021</c:v>
                </c:pt>
                <c:pt idx="21">
                  <c:v>123912.68191147331</c:v>
                </c:pt>
                <c:pt idx="22">
                  <c:v>125206.82896352674</c:v>
                </c:pt>
                <c:pt idx="23">
                  <c:v>129601.95578886141</c:v>
                </c:pt>
                <c:pt idx="24">
                  <c:v>122663.7657357225</c:v>
                </c:pt>
                <c:pt idx="25">
                  <c:v>124532.35952792826</c:v>
                </c:pt>
                <c:pt idx="26">
                  <c:v>133016.61560892736</c:v>
                </c:pt>
                <c:pt idx="27">
                  <c:v>150336.183472587</c:v>
                </c:pt>
                <c:pt idx="28">
                  <c:v>145357.51317611331</c:v>
                </c:pt>
                <c:pt idx="29">
                  <c:v>147881.62964261085</c:v>
                </c:pt>
                <c:pt idx="30">
                  <c:v>151882.53479764157</c:v>
                </c:pt>
                <c:pt idx="31">
                  <c:v>149914.72846406966</c:v>
                </c:pt>
                <c:pt idx="32">
                  <c:v>154237.44532374607</c:v>
                </c:pt>
                <c:pt idx="33">
                  <c:v>150045.78214609335</c:v>
                </c:pt>
                <c:pt idx="34">
                  <c:v>147411.60533325427</c:v>
                </c:pt>
                <c:pt idx="35">
                  <c:v>155338.30546797276</c:v>
                </c:pt>
                <c:pt idx="36">
                  <c:v>156956.419275958</c:v>
                </c:pt>
                <c:pt idx="37">
                  <c:v>145359.76781773532</c:v>
                </c:pt>
                <c:pt idx="38">
                  <c:v>150126.31507177724</c:v>
                </c:pt>
                <c:pt idx="39">
                  <c:v>139350.83844422037</c:v>
                </c:pt>
                <c:pt idx="40">
                  <c:v>148960.01106480678</c:v>
                </c:pt>
                <c:pt idx="41">
                  <c:v>146094.54731720986</c:v>
                </c:pt>
                <c:pt idx="42">
                  <c:v>169031.47139117768</c:v>
                </c:pt>
                <c:pt idx="43">
                  <c:v>149640.33474579101</c:v>
                </c:pt>
                <c:pt idx="44">
                  <c:v>144083.98553563331</c:v>
                </c:pt>
                <c:pt idx="45">
                  <c:v>137774.24188345988</c:v>
                </c:pt>
                <c:pt idx="46">
                  <c:v>137947.79590313835</c:v>
                </c:pt>
                <c:pt idx="47">
                  <c:v>136627.12650900663</c:v>
                </c:pt>
                <c:pt idx="48">
                  <c:v>183441.39608329377</c:v>
                </c:pt>
                <c:pt idx="49">
                  <c:v>153695.39579847857</c:v>
                </c:pt>
                <c:pt idx="50">
                  <c:v>152702.20894418884</c:v>
                </c:pt>
                <c:pt idx="51">
                  <c:v>140808.79697464634</c:v>
                </c:pt>
                <c:pt idx="52">
                  <c:v>175055.83685016865</c:v>
                </c:pt>
                <c:pt idx="53">
                  <c:v>160787.59380371729</c:v>
                </c:pt>
                <c:pt idx="54">
                  <c:v>134824.17304713928</c:v>
                </c:pt>
                <c:pt idx="55">
                  <c:v>160573.25148620486</c:v>
                </c:pt>
                <c:pt idx="56">
                  <c:v>192476.03048123681</c:v>
                </c:pt>
                <c:pt idx="57">
                  <c:v>129110.86963408887</c:v>
                </c:pt>
                <c:pt idx="58">
                  <c:v>185005.42068103957</c:v>
                </c:pt>
                <c:pt idx="59">
                  <c:v>147263.00570892444</c:v>
                </c:pt>
                <c:pt idx="60">
                  <c:v>149468.00317034044</c:v>
                </c:pt>
                <c:pt idx="61">
                  <c:v>127754.76061970288</c:v>
                </c:pt>
                <c:pt idx="62">
                  <c:v>163843.88301094441</c:v>
                </c:pt>
                <c:pt idx="63">
                  <c:v>160666.50318401333</c:v>
                </c:pt>
                <c:pt idx="64">
                  <c:v>152575.89429106365</c:v>
                </c:pt>
                <c:pt idx="65">
                  <c:v>164040.82281574365</c:v>
                </c:pt>
                <c:pt idx="66">
                  <c:v>160785.33585912531</c:v>
                </c:pt>
                <c:pt idx="67">
                  <c:v>221282.24926019553</c:v>
                </c:pt>
                <c:pt idx="68">
                  <c:v>160261.71278077114</c:v>
                </c:pt>
                <c:pt idx="69">
                  <c:v>189261.53801828617</c:v>
                </c:pt>
                <c:pt idx="70">
                  <c:v>162007.18937928096</c:v>
                </c:pt>
                <c:pt idx="71">
                  <c:v>146826.44505729162</c:v>
                </c:pt>
                <c:pt idx="72">
                  <c:v>153151.23816718219</c:v>
                </c:pt>
                <c:pt idx="73">
                  <c:v>209111.48776743002</c:v>
                </c:pt>
                <c:pt idx="74">
                  <c:v>161736.61641001728</c:v>
                </c:pt>
                <c:pt idx="75">
                  <c:v>139571.99205138837</c:v>
                </c:pt>
                <c:pt idx="76">
                  <c:v>166061.69027192413</c:v>
                </c:pt>
                <c:pt idx="77">
                  <c:v>141943.67085120303</c:v>
                </c:pt>
                <c:pt idx="78">
                  <c:v>226352.3790077123</c:v>
                </c:pt>
                <c:pt idx="79">
                  <c:v>165389.20144405187</c:v>
                </c:pt>
                <c:pt idx="80">
                  <c:v>220058.15592877544</c:v>
                </c:pt>
                <c:pt idx="81">
                  <c:v>169989.54115807274</c:v>
                </c:pt>
                <c:pt idx="82">
                  <c:v>101912.56454792575</c:v>
                </c:pt>
                <c:pt idx="83">
                  <c:v>114381.23642746331</c:v>
                </c:pt>
                <c:pt idx="84">
                  <c:v>297555.57179122453</c:v>
                </c:pt>
                <c:pt idx="85">
                  <c:v>153709.04787606059</c:v>
                </c:pt>
                <c:pt idx="86">
                  <c:v>148863.51580592495</c:v>
                </c:pt>
                <c:pt idx="87">
                  <c:v>190475.14230757742</c:v>
                </c:pt>
                <c:pt idx="88">
                  <c:v>119883.30706635671</c:v>
                </c:pt>
                <c:pt idx="89">
                  <c:v>214384.77798882872</c:v>
                </c:pt>
                <c:pt idx="90">
                  <c:v>116970.4284970283</c:v>
                </c:pt>
                <c:pt idx="91">
                  <c:v>58260.198154087884</c:v>
                </c:pt>
                <c:pt idx="92">
                  <c:v>291790.46666691982</c:v>
                </c:pt>
                <c:pt idx="93">
                  <c:v>76425.961712509146</c:v>
                </c:pt>
                <c:pt idx="94">
                  <c:v>26561.866979443264</c:v>
                </c:pt>
                <c:pt idx="95">
                  <c:v>335441.68829347577</c:v>
                </c:pt>
                <c:pt idx="96">
                  <c:v>146156.69836668394</c:v>
                </c:pt>
                <c:pt idx="97">
                  <c:v>229965.89047976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D9-4DAA-9987-A9F785C2C4AA}"/>
            </c:ext>
          </c:extLst>
        </c:ser>
        <c:ser>
          <c:idx val="1"/>
          <c:order val="1"/>
          <c:tx>
            <c:strRef>
              <c:f>'GRAFIK (2019)'!$H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H$5:$H$102</c:f>
              <c:numCache>
                <c:formatCode>_(* #,##0_);_(* \(#,##0\);_(* "-"_);_(@_)</c:formatCode>
                <c:ptCount val="98"/>
                <c:pt idx="0">
                  <c:v>6.3175141555898326</c:v>
                </c:pt>
                <c:pt idx="1">
                  <c:v>422.43470577136969</c:v>
                </c:pt>
                <c:pt idx="2">
                  <c:v>1790.6046412262754</c:v>
                </c:pt>
                <c:pt idx="3">
                  <c:v>10891.060663329825</c:v>
                </c:pt>
                <c:pt idx="4">
                  <c:v>44371.594721234957</c:v>
                </c:pt>
                <c:pt idx="5">
                  <c:v>102789.53017811211</c:v>
                </c:pt>
                <c:pt idx="6">
                  <c:v>302137.93706544139</c:v>
                </c:pt>
                <c:pt idx="7">
                  <c:v>458773.80536894151</c:v>
                </c:pt>
                <c:pt idx="8">
                  <c:v>453253.94052628533</c:v>
                </c:pt>
                <c:pt idx="9">
                  <c:v>465185.91679758322</c:v>
                </c:pt>
                <c:pt idx="10">
                  <c:v>475894.18058148643</c:v>
                </c:pt>
                <c:pt idx="11">
                  <c:v>485452.21023282455</c:v>
                </c:pt>
                <c:pt idx="12">
                  <c:v>508221.79893567821</c:v>
                </c:pt>
                <c:pt idx="13">
                  <c:v>527816.44365345337</c:v>
                </c:pt>
                <c:pt idx="14">
                  <c:v>576802.55707984371</c:v>
                </c:pt>
                <c:pt idx="15">
                  <c:v>780472.83678523568</c:v>
                </c:pt>
                <c:pt idx="16">
                  <c:v>853235.91411814047</c:v>
                </c:pt>
                <c:pt idx="17">
                  <c:v>829601.27108313376</c:v>
                </c:pt>
                <c:pt idx="18">
                  <c:v>835780.62591261428</c:v>
                </c:pt>
                <c:pt idx="19">
                  <c:v>582419.1274089471</c:v>
                </c:pt>
                <c:pt idx="20">
                  <c:v>546671.04784516012</c:v>
                </c:pt>
                <c:pt idx="21">
                  <c:v>522374.16237357259</c:v>
                </c:pt>
                <c:pt idx="22">
                  <c:v>447359.02656107175</c:v>
                </c:pt>
                <c:pt idx="23">
                  <c:v>379564.23511754809</c:v>
                </c:pt>
                <c:pt idx="24">
                  <c:v>269225.32844938227</c:v>
                </c:pt>
                <c:pt idx="25">
                  <c:v>191292.36753272172</c:v>
                </c:pt>
                <c:pt idx="26">
                  <c:v>85719.906364851224</c:v>
                </c:pt>
                <c:pt idx="27">
                  <c:v>34289.729319322083</c:v>
                </c:pt>
                <c:pt idx="28">
                  <c:v>18879.778853565378</c:v>
                </c:pt>
                <c:pt idx="29">
                  <c:v>5337.7205082835872</c:v>
                </c:pt>
                <c:pt idx="30">
                  <c:v>4826.2599881195338</c:v>
                </c:pt>
                <c:pt idx="31">
                  <c:v>0</c:v>
                </c:pt>
                <c:pt idx="32">
                  <c:v>11620.74728199017</c:v>
                </c:pt>
                <c:pt idx="33">
                  <c:v>8141.2389461555931</c:v>
                </c:pt>
                <c:pt idx="34">
                  <c:v>7174.1367464382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D9-4DAA-9987-A9F785C2C4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lawes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K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K$5:$K$102</c:f>
              <c:numCache>
                <c:formatCode>_(* #,##0_);_(* \(#,##0\);_(* "-"_);_(@_)</c:formatCode>
                <c:ptCount val="98"/>
                <c:pt idx="0">
                  <c:v>128146.89268855387</c:v>
                </c:pt>
                <c:pt idx="1">
                  <c:v>96110.402412871365</c:v>
                </c:pt>
                <c:pt idx="2">
                  <c:v>101824.88106852499</c:v>
                </c:pt>
                <c:pt idx="3">
                  <c:v>103691.17348249009</c:v>
                </c:pt>
                <c:pt idx="4">
                  <c:v>94286.198078426241</c:v>
                </c:pt>
                <c:pt idx="5">
                  <c:v>82244.332492446178</c:v>
                </c:pt>
                <c:pt idx="6">
                  <c:v>85535.448981993381</c:v>
                </c:pt>
                <c:pt idx="7">
                  <c:v>87719.834466775297</c:v>
                </c:pt>
                <c:pt idx="8">
                  <c:v>79196.260323816212</c:v>
                </c:pt>
                <c:pt idx="9">
                  <c:v>79608.682260060479</c:v>
                </c:pt>
                <c:pt idx="10">
                  <c:v>87315.306244315085</c:v>
                </c:pt>
                <c:pt idx="11">
                  <c:v>83644.304422303045</c:v>
                </c:pt>
                <c:pt idx="12">
                  <c:v>86815.269966329623</c:v>
                </c:pt>
                <c:pt idx="13">
                  <c:v>70761.111245817534</c:v>
                </c:pt>
                <c:pt idx="14">
                  <c:v>79006.782286621834</c:v>
                </c:pt>
                <c:pt idx="15">
                  <c:v>96339.816583755295</c:v>
                </c:pt>
                <c:pt idx="16">
                  <c:v>84286.407447944352</c:v>
                </c:pt>
                <c:pt idx="17">
                  <c:v>90553.830511437234</c:v>
                </c:pt>
                <c:pt idx="18">
                  <c:v>75692.086916238317</c:v>
                </c:pt>
                <c:pt idx="19">
                  <c:v>89071.486914960842</c:v>
                </c:pt>
                <c:pt idx="20">
                  <c:v>91399.593966138345</c:v>
                </c:pt>
                <c:pt idx="21">
                  <c:v>87576.80790832908</c:v>
                </c:pt>
                <c:pt idx="22">
                  <c:v>85109.500533182509</c:v>
                </c:pt>
                <c:pt idx="23">
                  <c:v>90322.414722635105</c:v>
                </c:pt>
                <c:pt idx="24">
                  <c:v>98186.462490596168</c:v>
                </c:pt>
                <c:pt idx="25">
                  <c:v>102273.97077095741</c:v>
                </c:pt>
                <c:pt idx="26">
                  <c:v>103247.39750080428</c:v>
                </c:pt>
                <c:pt idx="27">
                  <c:v>105081.29369164421</c:v>
                </c:pt>
                <c:pt idx="28">
                  <c:v>111208.52258052165</c:v>
                </c:pt>
                <c:pt idx="29">
                  <c:v>112745.06907284373</c:v>
                </c:pt>
                <c:pt idx="30">
                  <c:v>125620.63641063718</c:v>
                </c:pt>
                <c:pt idx="31">
                  <c:v>117823.88314377901</c:v>
                </c:pt>
                <c:pt idx="32">
                  <c:v>117564.96123518972</c:v>
                </c:pt>
                <c:pt idx="33">
                  <c:v>101219.94487396975</c:v>
                </c:pt>
                <c:pt idx="34">
                  <c:v>126445.7039648183</c:v>
                </c:pt>
                <c:pt idx="35">
                  <c:v>118018.01712643259</c:v>
                </c:pt>
                <c:pt idx="36">
                  <c:v>114896.10541393023</c:v>
                </c:pt>
                <c:pt idx="37">
                  <c:v>116567.53193170522</c:v>
                </c:pt>
                <c:pt idx="38">
                  <c:v>114330.22742478669</c:v>
                </c:pt>
                <c:pt idx="39">
                  <c:v>111868.03059616443</c:v>
                </c:pt>
                <c:pt idx="40">
                  <c:v>115702.09118300532</c:v>
                </c:pt>
                <c:pt idx="41">
                  <c:v>117587.18454864796</c:v>
                </c:pt>
                <c:pt idx="42">
                  <c:v>113304.81080296505</c:v>
                </c:pt>
                <c:pt idx="43">
                  <c:v>108984.42739270857</c:v>
                </c:pt>
                <c:pt idx="44">
                  <c:v>103804.22047459942</c:v>
                </c:pt>
                <c:pt idx="45">
                  <c:v>121105.35308976969</c:v>
                </c:pt>
                <c:pt idx="46">
                  <c:v>102109.95968602452</c:v>
                </c:pt>
                <c:pt idx="47">
                  <c:v>112276.58497079002</c:v>
                </c:pt>
                <c:pt idx="48">
                  <c:v>130279.24552490909</c:v>
                </c:pt>
                <c:pt idx="49">
                  <c:v>119625.7161621165</c:v>
                </c:pt>
                <c:pt idx="50">
                  <c:v>125072.94187223089</c:v>
                </c:pt>
                <c:pt idx="51">
                  <c:v>119788.07776062647</c:v>
                </c:pt>
                <c:pt idx="52">
                  <c:v>122003.55702343106</c:v>
                </c:pt>
                <c:pt idx="53">
                  <c:v>120471.32765691003</c:v>
                </c:pt>
                <c:pt idx="54">
                  <c:v>117068.29447532762</c:v>
                </c:pt>
                <c:pt idx="55">
                  <c:v>124152.27527152133</c:v>
                </c:pt>
                <c:pt idx="56">
                  <c:v>130169.32097367346</c:v>
                </c:pt>
                <c:pt idx="57">
                  <c:v>145210.06600037342</c:v>
                </c:pt>
                <c:pt idx="58">
                  <c:v>131219.45781525038</c:v>
                </c:pt>
                <c:pt idx="59">
                  <c:v>124386.50032067034</c:v>
                </c:pt>
                <c:pt idx="60">
                  <c:v>158565.94939099409</c:v>
                </c:pt>
                <c:pt idx="61">
                  <c:v>178144.38714891861</c:v>
                </c:pt>
                <c:pt idx="62">
                  <c:v>146317.48317504529</c:v>
                </c:pt>
                <c:pt idx="63">
                  <c:v>166728.13581844969</c:v>
                </c:pt>
                <c:pt idx="64">
                  <c:v>142739.6752852007</c:v>
                </c:pt>
                <c:pt idx="65">
                  <c:v>143573.04861013594</c:v>
                </c:pt>
                <c:pt idx="66">
                  <c:v>163202.54390566165</c:v>
                </c:pt>
                <c:pt idx="67">
                  <c:v>220027.74099017453</c:v>
                </c:pt>
                <c:pt idx="68">
                  <c:v>165865.84950658577</c:v>
                </c:pt>
                <c:pt idx="69">
                  <c:v>147710.84368094098</c:v>
                </c:pt>
                <c:pt idx="70">
                  <c:v>182351.99284154299</c:v>
                </c:pt>
                <c:pt idx="71">
                  <c:v>170660.24400019005</c:v>
                </c:pt>
                <c:pt idx="72">
                  <c:v>164962.78754888312</c:v>
                </c:pt>
                <c:pt idx="73">
                  <c:v>161594.98805281171</c:v>
                </c:pt>
                <c:pt idx="74">
                  <c:v>135220.86289817435</c:v>
                </c:pt>
                <c:pt idx="75">
                  <c:v>141436.75128397136</c:v>
                </c:pt>
                <c:pt idx="76">
                  <c:v>158543.28180873618</c:v>
                </c:pt>
                <c:pt idx="77">
                  <c:v>321477.39135422406</c:v>
                </c:pt>
                <c:pt idx="78">
                  <c:v>153695.49172747985</c:v>
                </c:pt>
                <c:pt idx="79">
                  <c:v>143120.07231272606</c:v>
                </c:pt>
                <c:pt idx="80">
                  <c:v>137849.86275599955</c:v>
                </c:pt>
                <c:pt idx="81">
                  <c:v>170613.19649079026</c:v>
                </c:pt>
                <c:pt idx="82">
                  <c:v>180231.37547825917</c:v>
                </c:pt>
                <c:pt idx="83">
                  <c:v>120146.17703782622</c:v>
                </c:pt>
                <c:pt idx="84">
                  <c:v>175104.78800811002</c:v>
                </c:pt>
                <c:pt idx="85">
                  <c:v>83219.009962612647</c:v>
                </c:pt>
                <c:pt idx="86">
                  <c:v>149927.60251766577</c:v>
                </c:pt>
                <c:pt idx="87">
                  <c:v>152036.9409492533</c:v>
                </c:pt>
                <c:pt idx="88">
                  <c:v>182486.98979079112</c:v>
                </c:pt>
                <c:pt idx="89">
                  <c:v>249631.16370797658</c:v>
                </c:pt>
                <c:pt idx="90">
                  <c:v>47943.566958500473</c:v>
                </c:pt>
                <c:pt idx="91">
                  <c:v>21203.227182968556</c:v>
                </c:pt>
                <c:pt idx="92">
                  <c:v>38065.121720841431</c:v>
                </c:pt>
                <c:pt idx="93">
                  <c:v>23739.462312995071</c:v>
                </c:pt>
                <c:pt idx="94">
                  <c:v>12197.258499222757</c:v>
                </c:pt>
                <c:pt idx="95">
                  <c:v>117966.90436401495</c:v>
                </c:pt>
                <c:pt idx="96">
                  <c:v>122499.1567592584</c:v>
                </c:pt>
                <c:pt idx="97">
                  <c:v>95229.654802286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8E-4586-B251-03F4F9F9AE91}"/>
            </c:ext>
          </c:extLst>
        </c:ser>
        <c:ser>
          <c:idx val="1"/>
          <c:order val="1"/>
          <c:tx>
            <c:strRef>
              <c:f>'GRAFIK (2019)'!$L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L$5:$L$102</c:f>
              <c:numCache>
                <c:formatCode>_(* #,##0_);_(* \(#,##0\);_(* "-"_);_(@_)</c:formatCode>
                <c:ptCount val="98"/>
                <c:pt idx="0">
                  <c:v>16.359869884229386</c:v>
                </c:pt>
                <c:pt idx="1">
                  <c:v>158.26981805565569</c:v>
                </c:pt>
                <c:pt idx="2">
                  <c:v>2095.7498618821564</c:v>
                </c:pt>
                <c:pt idx="3">
                  <c:v>11065.754148360173</c:v>
                </c:pt>
                <c:pt idx="4">
                  <c:v>43626.48229814988</c:v>
                </c:pt>
                <c:pt idx="5">
                  <c:v>124572.87577887018</c:v>
                </c:pt>
                <c:pt idx="6">
                  <c:v>342152.27218759537</c:v>
                </c:pt>
                <c:pt idx="7">
                  <c:v>572233.54957052344</c:v>
                </c:pt>
                <c:pt idx="8">
                  <c:v>591756.45474462328</c:v>
                </c:pt>
                <c:pt idx="9">
                  <c:v>579621.31510819157</c:v>
                </c:pt>
                <c:pt idx="10">
                  <c:v>615210.03267439385</c:v>
                </c:pt>
                <c:pt idx="11">
                  <c:v>611967.15545527218</c:v>
                </c:pt>
                <c:pt idx="12">
                  <c:v>626294.31973462808</c:v>
                </c:pt>
                <c:pt idx="13">
                  <c:v>684699.50526336581</c:v>
                </c:pt>
                <c:pt idx="14">
                  <c:v>685691.71875961078</c:v>
                </c:pt>
                <c:pt idx="15">
                  <c:v>862594.32292194013</c:v>
                </c:pt>
                <c:pt idx="16">
                  <c:v>990804.3557428401</c:v>
                </c:pt>
                <c:pt idx="17">
                  <c:v>930616.62816749769</c:v>
                </c:pt>
                <c:pt idx="18">
                  <c:v>862562.65453855367</c:v>
                </c:pt>
                <c:pt idx="19">
                  <c:v>747969.84660313721</c:v>
                </c:pt>
                <c:pt idx="20">
                  <c:v>837310.93184303539</c:v>
                </c:pt>
                <c:pt idx="21">
                  <c:v>822754.46411925065</c:v>
                </c:pt>
                <c:pt idx="22">
                  <c:v>631493.83551709855</c:v>
                </c:pt>
                <c:pt idx="23">
                  <c:v>463783.59995333233</c:v>
                </c:pt>
                <c:pt idx="24">
                  <c:v>341355.8651981419</c:v>
                </c:pt>
                <c:pt idx="25">
                  <c:v>300610.32443660399</c:v>
                </c:pt>
                <c:pt idx="26">
                  <c:v>128198.4824475607</c:v>
                </c:pt>
                <c:pt idx="27">
                  <c:v>39304.999982422254</c:v>
                </c:pt>
                <c:pt idx="28">
                  <c:v>21612.007165827687</c:v>
                </c:pt>
                <c:pt idx="29">
                  <c:v>6827.0950682115035</c:v>
                </c:pt>
                <c:pt idx="30">
                  <c:v>10049.245884498501</c:v>
                </c:pt>
                <c:pt idx="31">
                  <c:v>15394.840916160796</c:v>
                </c:pt>
                <c:pt idx="32">
                  <c:v>3627.9337890031793</c:v>
                </c:pt>
                <c:pt idx="33">
                  <c:v>6453.2986506918469</c:v>
                </c:pt>
                <c:pt idx="34">
                  <c:v>9211.9833609464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8E-4586-B251-03F4F9F9AE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alimanta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K (2019)'!$I$4</c:f>
              <c:strCache>
                <c:ptCount val="1"/>
                <c:pt idx="0">
                  <c:v>Health 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I$5:$I$102</c:f>
              <c:numCache>
                <c:formatCode>_(* #,##0_);_(* \(#,##0\);_(* "-"_);_(@_)</c:formatCode>
                <c:ptCount val="98"/>
                <c:pt idx="0">
                  <c:v>194097.5444118462</c:v>
                </c:pt>
                <c:pt idx="1">
                  <c:v>126804.83642337685</c:v>
                </c:pt>
                <c:pt idx="2">
                  <c:v>114128.8002252977</c:v>
                </c:pt>
                <c:pt idx="3">
                  <c:v>101459.63546072278</c:v>
                </c:pt>
                <c:pt idx="4">
                  <c:v>113259.85207707486</c:v>
                </c:pt>
                <c:pt idx="5">
                  <c:v>72985.359759850006</c:v>
                </c:pt>
                <c:pt idx="6">
                  <c:v>89320.417006473843</c:v>
                </c:pt>
                <c:pt idx="7">
                  <c:v>87563.086453428055</c:v>
                </c:pt>
                <c:pt idx="8">
                  <c:v>73335.618412415468</c:v>
                </c:pt>
                <c:pt idx="9">
                  <c:v>69201.333936421433</c:v>
                </c:pt>
                <c:pt idx="10">
                  <c:v>76738.04548238992</c:v>
                </c:pt>
                <c:pt idx="11">
                  <c:v>70517.644789813989</c:v>
                </c:pt>
                <c:pt idx="12">
                  <c:v>89443.593804433054</c:v>
                </c:pt>
                <c:pt idx="13">
                  <c:v>70988.00557531722</c:v>
                </c:pt>
                <c:pt idx="14">
                  <c:v>93672.652357034065</c:v>
                </c:pt>
                <c:pt idx="15">
                  <c:v>98367.211074453764</c:v>
                </c:pt>
                <c:pt idx="16">
                  <c:v>95182.077601427343</c:v>
                </c:pt>
                <c:pt idx="17">
                  <c:v>84382.647670187187</c:v>
                </c:pt>
                <c:pt idx="18">
                  <c:v>86255.170608837972</c:v>
                </c:pt>
                <c:pt idx="19">
                  <c:v>93451.919415786484</c:v>
                </c:pt>
                <c:pt idx="20">
                  <c:v>112471.17082167391</c:v>
                </c:pt>
                <c:pt idx="21">
                  <c:v>90490.923510312452</c:v>
                </c:pt>
                <c:pt idx="22">
                  <c:v>109480.41377072266</c:v>
                </c:pt>
                <c:pt idx="23">
                  <c:v>113522.34512305704</c:v>
                </c:pt>
                <c:pt idx="24">
                  <c:v>112186.90748153215</c:v>
                </c:pt>
                <c:pt idx="25">
                  <c:v>114105.88208574071</c:v>
                </c:pt>
                <c:pt idx="26">
                  <c:v>128744.51286541991</c:v>
                </c:pt>
                <c:pt idx="27">
                  <c:v>129992.0653972218</c:v>
                </c:pt>
                <c:pt idx="28">
                  <c:v>110745.7711137274</c:v>
                </c:pt>
                <c:pt idx="29">
                  <c:v>124288.50605235189</c:v>
                </c:pt>
                <c:pt idx="30">
                  <c:v>145633.03717954998</c:v>
                </c:pt>
                <c:pt idx="31">
                  <c:v>146383.69413711247</c:v>
                </c:pt>
                <c:pt idx="32">
                  <c:v>125446.76979729855</c:v>
                </c:pt>
                <c:pt idx="33">
                  <c:v>122719.19475148628</c:v>
                </c:pt>
                <c:pt idx="34">
                  <c:v>139026.86721477841</c:v>
                </c:pt>
                <c:pt idx="35">
                  <c:v>136837.48084300966</c:v>
                </c:pt>
                <c:pt idx="36">
                  <c:v>112562.24134603798</c:v>
                </c:pt>
                <c:pt idx="37">
                  <c:v>138343.59196525373</c:v>
                </c:pt>
                <c:pt idx="38">
                  <c:v>126590.87824307593</c:v>
                </c:pt>
                <c:pt idx="39">
                  <c:v>132331.44872936071</c:v>
                </c:pt>
                <c:pt idx="40">
                  <c:v>165270.06047458836</c:v>
                </c:pt>
                <c:pt idx="41">
                  <c:v>125776.60239979136</c:v>
                </c:pt>
                <c:pt idx="42">
                  <c:v>120679.25145813724</c:v>
                </c:pt>
                <c:pt idx="43">
                  <c:v>122782.68113780106</c:v>
                </c:pt>
                <c:pt idx="44">
                  <c:v>111305.45643112724</c:v>
                </c:pt>
                <c:pt idx="45">
                  <c:v>134909.37948329953</c:v>
                </c:pt>
                <c:pt idx="46">
                  <c:v>141976.22627720772</c:v>
                </c:pt>
                <c:pt idx="47">
                  <c:v>182113.65811669381</c:v>
                </c:pt>
                <c:pt idx="48">
                  <c:v>131961.38846288854</c:v>
                </c:pt>
                <c:pt idx="49">
                  <c:v>140239.98019809247</c:v>
                </c:pt>
                <c:pt idx="50">
                  <c:v>125810.98589814367</c:v>
                </c:pt>
                <c:pt idx="51">
                  <c:v>144607.67960013598</c:v>
                </c:pt>
                <c:pt idx="52">
                  <c:v>123067.90543490103</c:v>
                </c:pt>
                <c:pt idx="53">
                  <c:v>137086.83210390905</c:v>
                </c:pt>
                <c:pt idx="54">
                  <c:v>122365.70320355755</c:v>
                </c:pt>
                <c:pt idx="55">
                  <c:v>147993.73689979446</c:v>
                </c:pt>
                <c:pt idx="56">
                  <c:v>161618.11692736132</c:v>
                </c:pt>
                <c:pt idx="57">
                  <c:v>170047.05493802144</c:v>
                </c:pt>
                <c:pt idx="58">
                  <c:v>189174.785505937</c:v>
                </c:pt>
                <c:pt idx="59">
                  <c:v>155753.17229158382</c:v>
                </c:pt>
                <c:pt idx="60">
                  <c:v>139406.68895311994</c:v>
                </c:pt>
                <c:pt idx="61">
                  <c:v>138733.266810823</c:v>
                </c:pt>
                <c:pt idx="62">
                  <c:v>205046.6743251381</c:v>
                </c:pt>
                <c:pt idx="63">
                  <c:v>250480.87147881158</c:v>
                </c:pt>
                <c:pt idx="64">
                  <c:v>222590.52776346714</c:v>
                </c:pt>
                <c:pt idx="65">
                  <c:v>231299.61777063701</c:v>
                </c:pt>
                <c:pt idx="66">
                  <c:v>231962.98551340349</c:v>
                </c:pt>
                <c:pt idx="67">
                  <c:v>371609.58984442381</c:v>
                </c:pt>
                <c:pt idx="68">
                  <c:v>178898.32670011939</c:v>
                </c:pt>
                <c:pt idx="69">
                  <c:v>233222.07352495904</c:v>
                </c:pt>
                <c:pt idx="70">
                  <c:v>157482.0071022145</c:v>
                </c:pt>
                <c:pt idx="71">
                  <c:v>245820.18776502198</c:v>
                </c:pt>
                <c:pt idx="72">
                  <c:v>192873.12127379648</c:v>
                </c:pt>
                <c:pt idx="73">
                  <c:v>270515.83306390059</c:v>
                </c:pt>
                <c:pt idx="74">
                  <c:v>198600.97192030874</c:v>
                </c:pt>
                <c:pt idx="75">
                  <c:v>205029.52572122542</c:v>
                </c:pt>
                <c:pt idx="76">
                  <c:v>172288.66551490803</c:v>
                </c:pt>
                <c:pt idx="77">
                  <c:v>123320.73767429963</c:v>
                </c:pt>
                <c:pt idx="78">
                  <c:v>178748.4491693243</c:v>
                </c:pt>
                <c:pt idx="79">
                  <c:v>168175.49760681303</c:v>
                </c:pt>
                <c:pt idx="80">
                  <c:v>160238.40013589163</c:v>
                </c:pt>
                <c:pt idx="81">
                  <c:v>150090.06702325359</c:v>
                </c:pt>
                <c:pt idx="82">
                  <c:v>278301.82739948935</c:v>
                </c:pt>
                <c:pt idx="83">
                  <c:v>161303.75534272054</c:v>
                </c:pt>
                <c:pt idx="84">
                  <c:v>148144.77741984453</c:v>
                </c:pt>
                <c:pt idx="85">
                  <c:v>77500.485828850564</c:v>
                </c:pt>
                <c:pt idx="86">
                  <c:v>85617.579154397856</c:v>
                </c:pt>
                <c:pt idx="87">
                  <c:v>95840.084195944539</c:v>
                </c:pt>
                <c:pt idx="88">
                  <c:v>167894.20640181171</c:v>
                </c:pt>
                <c:pt idx="89">
                  <c:v>235568.2206742244</c:v>
                </c:pt>
                <c:pt idx="90">
                  <c:v>173381.26159861704</c:v>
                </c:pt>
                <c:pt idx="91">
                  <c:v>159744.487315406</c:v>
                </c:pt>
                <c:pt idx="92">
                  <c:v>33057.604284959227</c:v>
                </c:pt>
                <c:pt idx="93">
                  <c:v>134284.93222799184</c:v>
                </c:pt>
                <c:pt idx="94">
                  <c:v>169189.06267685286</c:v>
                </c:pt>
                <c:pt idx="95">
                  <c:v>97736.113615880473</c:v>
                </c:pt>
                <c:pt idx="96">
                  <c:v>27154.769599778494</c:v>
                </c:pt>
                <c:pt idx="97">
                  <c:v>86953.976176615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4D-448C-8E39-488F6835A4EF}"/>
            </c:ext>
          </c:extLst>
        </c:ser>
        <c:ser>
          <c:idx val="1"/>
          <c:order val="1"/>
          <c:tx>
            <c:strRef>
              <c:f>'GRAFIK (2019)'!$J$4</c:f>
              <c:strCache>
                <c:ptCount val="1"/>
                <c:pt idx="0">
                  <c:v>Ed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GRAFIK (2019)'!$B$5:$B$102</c:f>
              <c:numCache>
                <c:formatCode>General</c:formatCode>
                <c:ptCount val="9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</c:numCache>
            </c:numRef>
          </c:cat>
          <c:val>
            <c:numRef>
              <c:f>'GRAFIK (2019)'!$J$5:$J$102</c:f>
              <c:numCache>
                <c:formatCode>_(* #,##0_);_(* \(#,##0\);_(* "-"_);_(@_)</c:formatCode>
                <c:ptCount val="98"/>
                <c:pt idx="0">
                  <c:v>17.17346516092757</c:v>
                </c:pt>
                <c:pt idx="1">
                  <c:v>1321.8255896930159</c:v>
                </c:pt>
                <c:pt idx="2">
                  <c:v>5930.8917037580532</c:v>
                </c:pt>
                <c:pt idx="3">
                  <c:v>30129.44810855114</c:v>
                </c:pt>
                <c:pt idx="4">
                  <c:v>90541.967540470039</c:v>
                </c:pt>
                <c:pt idx="5">
                  <c:v>195026.12891902938</c:v>
                </c:pt>
                <c:pt idx="6">
                  <c:v>482125.30556283024</c:v>
                </c:pt>
                <c:pt idx="7">
                  <c:v>723457.86973226536</c:v>
                </c:pt>
                <c:pt idx="8">
                  <c:v>702306.03436448402</c:v>
                </c:pt>
                <c:pt idx="9">
                  <c:v>699925.17090888158</c:v>
                </c:pt>
                <c:pt idx="10">
                  <c:v>737354.21574393217</c:v>
                </c:pt>
                <c:pt idx="11">
                  <c:v>716713.14109194453</c:v>
                </c:pt>
                <c:pt idx="12">
                  <c:v>764369.29020358808</c:v>
                </c:pt>
                <c:pt idx="13">
                  <c:v>828393.25540983665</c:v>
                </c:pt>
                <c:pt idx="14">
                  <c:v>808451.10753800313</c:v>
                </c:pt>
                <c:pt idx="15">
                  <c:v>1044678.8180108761</c:v>
                </c:pt>
                <c:pt idx="16">
                  <c:v>1078780.0970459648</c:v>
                </c:pt>
                <c:pt idx="17">
                  <c:v>1043978.3495222523</c:v>
                </c:pt>
                <c:pt idx="18">
                  <c:v>996976.42007263773</c:v>
                </c:pt>
                <c:pt idx="19">
                  <c:v>705457.39302578266</c:v>
                </c:pt>
                <c:pt idx="20">
                  <c:v>641509.6859163387</c:v>
                </c:pt>
                <c:pt idx="21">
                  <c:v>683581.11969386577</c:v>
                </c:pt>
                <c:pt idx="22">
                  <c:v>571986.7451609096</c:v>
                </c:pt>
                <c:pt idx="23">
                  <c:v>378469.6631086088</c:v>
                </c:pt>
                <c:pt idx="24">
                  <c:v>234497.74351403848</c:v>
                </c:pt>
                <c:pt idx="25">
                  <c:v>201757.88742058774</c:v>
                </c:pt>
                <c:pt idx="26">
                  <c:v>135019.30923985108</c:v>
                </c:pt>
                <c:pt idx="27">
                  <c:v>25142.657817536339</c:v>
                </c:pt>
                <c:pt idx="28">
                  <c:v>19639.265236709867</c:v>
                </c:pt>
                <c:pt idx="29">
                  <c:v>9205.0690316065447</c:v>
                </c:pt>
                <c:pt idx="30">
                  <c:v>7451.6994661671197</c:v>
                </c:pt>
                <c:pt idx="31">
                  <c:v>7808.7810483329849</c:v>
                </c:pt>
                <c:pt idx="32">
                  <c:v>2636.5811868072587</c:v>
                </c:pt>
                <c:pt idx="33">
                  <c:v>2811.6439374137717</c:v>
                </c:pt>
                <c:pt idx="34">
                  <c:v>11407.789662500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4D-448C-8E39-488F6835A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9745440"/>
        <c:axId val="1409745856"/>
      </c:barChart>
      <c:catAx>
        <c:axId val="140974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856"/>
        <c:crosses val="autoZero"/>
        <c:auto val="1"/>
        <c:lblAlgn val="ctr"/>
        <c:lblOffset val="100"/>
        <c:noMultiLvlLbl val="0"/>
      </c:catAx>
      <c:valAx>
        <c:axId val="1409745856"/>
        <c:scaling>
          <c:orientation val="minMax"/>
          <c:max val="16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74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371</cdr:x>
      <cdr:y>0.51343</cdr:y>
    </cdr:from>
    <cdr:to>
      <cdr:x>0.69842</cdr:x>
      <cdr:y>0.78842</cdr:y>
    </cdr:to>
    <cdr:cxnSp macro="">
      <cdr:nvCxnSpPr>
        <cdr:cNvPr id="14" name="Straight Arrow Connector 13">
          <a:extLst xmlns:a="http://schemas.openxmlformats.org/drawingml/2006/main">
            <a:ext uri="{FF2B5EF4-FFF2-40B4-BE49-F238E27FC236}">
              <a16:creationId xmlns:a16="http://schemas.microsoft.com/office/drawing/2014/main" id="{C9C1360C-DD43-1A73-CEA7-0B2FB499A511}"/>
            </a:ext>
          </a:extLst>
        </cdr:cNvPr>
        <cdr:cNvCxnSpPr/>
      </cdr:nvCxnSpPr>
      <cdr:spPr>
        <a:xfrm xmlns:a="http://schemas.openxmlformats.org/drawingml/2006/main" flipH="1">
          <a:off x="7736054" y="2239166"/>
          <a:ext cx="404548" cy="1199266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rgbClr val="2B4E93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4796</cdr:x>
      <cdr:y>0.33931</cdr:y>
    </cdr:from>
    <cdr:to>
      <cdr:x>0.64796</cdr:x>
      <cdr:y>0.78603</cdr:y>
    </cdr:to>
    <cdr:cxnSp macro="">
      <cdr:nvCxnSpPr>
        <cdr:cNvPr id="12" name="Straight Arrow Connector 11">
          <a:extLst xmlns:a="http://schemas.openxmlformats.org/drawingml/2006/main">
            <a:ext uri="{FF2B5EF4-FFF2-40B4-BE49-F238E27FC236}">
              <a16:creationId xmlns:a16="http://schemas.microsoft.com/office/drawing/2014/main" id="{4B7FC692-400C-0530-92F6-24E19731FFEE}"/>
            </a:ext>
          </a:extLst>
        </cdr:cNvPr>
        <cdr:cNvCxnSpPr/>
      </cdr:nvCxnSpPr>
      <cdr:spPr>
        <a:xfrm xmlns:a="http://schemas.openxmlformats.org/drawingml/2006/main">
          <a:off x="7552427" y="1375530"/>
          <a:ext cx="0" cy="1810938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rgbClr val="2B4E93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5226</cdr:x>
      <cdr:y>0.34141</cdr:y>
    </cdr:from>
    <cdr:to>
      <cdr:x>0.35226</cdr:x>
      <cdr:y>0.86116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3338B3FC-2675-FB19-FF4E-EE38560B3F2F}"/>
            </a:ext>
          </a:extLst>
        </cdr:cNvPr>
        <cdr:cNvCxnSpPr/>
      </cdr:nvCxnSpPr>
      <cdr:spPr>
        <a:xfrm xmlns:a="http://schemas.openxmlformats.org/drawingml/2006/main">
          <a:off x="4105896" y="1384017"/>
          <a:ext cx="0" cy="2106991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rgbClr val="2B4E93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0804</cdr:x>
      <cdr:y>0.53717</cdr:y>
    </cdr:from>
    <cdr:to>
      <cdr:x>0.42297</cdr:x>
      <cdr:y>0.85753</cdr:y>
    </cdr:to>
    <cdr:cxnSp macro="">
      <cdr:nvCxnSpPr>
        <cdr:cNvPr id="8" name="Straight Arrow Connector 7">
          <a:extLst xmlns:a="http://schemas.openxmlformats.org/drawingml/2006/main">
            <a:ext uri="{FF2B5EF4-FFF2-40B4-BE49-F238E27FC236}">
              <a16:creationId xmlns:a16="http://schemas.microsoft.com/office/drawing/2014/main" id="{62C3F676-3421-C129-D4E6-2B07B9C5E5CD}"/>
            </a:ext>
          </a:extLst>
        </cdr:cNvPr>
        <cdr:cNvCxnSpPr/>
      </cdr:nvCxnSpPr>
      <cdr:spPr>
        <a:xfrm xmlns:a="http://schemas.openxmlformats.org/drawingml/2006/main" flipH="1">
          <a:off x="4755993" y="2177610"/>
          <a:ext cx="174049" cy="1298677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rgbClr val="2B4E93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9195</cdr:x>
      <cdr:y>0.12963</cdr:y>
    </cdr:from>
    <cdr:to>
      <cdr:x>0.63218</cdr:x>
      <cdr:y>0.85185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576064" y="504056"/>
          <a:ext cx="3384376" cy="2808312"/>
        </a:xfrm>
        <a:prstGeom xmlns:a="http://schemas.openxmlformats.org/drawingml/2006/main" prst="rect">
          <a:avLst/>
        </a:prstGeom>
        <a:solidFill xmlns:a="http://schemas.openxmlformats.org/drawingml/2006/main">
          <a:srgbClr val="56C0ED">
            <a:alpha val="29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d-ID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615A4E-956D-4789-99D7-8BE71DFE849E}" type="datetimeFigureOut">
              <a:rPr lang="id-ID" smtClean="0"/>
              <a:t>12/02/23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B6363-E10E-4CD3-90A0-638EE058BA3D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20471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1200" b="1" strike="sngStrike" noProof="1">
                <a:solidFill>
                  <a:srgbClr val="C00000"/>
                </a:solidFill>
                <a:latin typeface="Arial Nova" panose="020B0504020202020204" pitchFamily="34" charset="0"/>
              </a:rPr>
              <a:t>pembangunan SDM untuk semua  yang berkualitas, </a:t>
            </a:r>
            <a:r>
              <a:rPr lang="id-ID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Pemenuhan pelayanan dasar dan pembangunan fondasi Sumber Daya Manusia (SDM)</a:t>
            </a:r>
            <a:endParaRPr lang="en-US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Tahap 1 </a:t>
            </a: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 pelayanan dasar semua terpenu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Tahap 4 </a:t>
            </a:r>
            <a:endParaRPr lang="id-ID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</p:txBody>
      </p:sp>
      <p:sp>
        <p:nvSpPr>
          <p:cNvPr id="283" name="Google Shape;2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03799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1200" b="1" strike="sngStrike" noProof="1">
                <a:solidFill>
                  <a:srgbClr val="C00000"/>
                </a:solidFill>
                <a:latin typeface="Arial Nova" panose="020B0504020202020204" pitchFamily="34" charset="0"/>
              </a:rPr>
              <a:t>pembangunan SDM untuk semua  yang berkualitas, </a:t>
            </a:r>
            <a:r>
              <a:rPr lang="id-ID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Pemenuhan pelayanan dasar dan pembangunan fondasi Sumber Daya Manusia (SDM)</a:t>
            </a:r>
            <a:endParaRPr lang="en-US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Tahap 1 </a:t>
            </a: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 pelayanan dasar semua terpenu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Tahap 4 </a:t>
            </a:r>
            <a:endParaRPr lang="id-ID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</p:txBody>
      </p:sp>
      <p:sp>
        <p:nvSpPr>
          <p:cNvPr id="283" name="Google Shape;2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00153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1200" b="1" strike="sngStrike" noProof="1">
                <a:solidFill>
                  <a:srgbClr val="C00000"/>
                </a:solidFill>
                <a:latin typeface="Arial Nova" panose="020B0504020202020204" pitchFamily="34" charset="0"/>
              </a:rPr>
              <a:t>pembangunan SDM untuk semua  yang berkualitas, </a:t>
            </a:r>
            <a:r>
              <a:rPr lang="id-ID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Pemenuhan pelayanan dasar dan pembangunan fondasi Sumber Daya Manusia (SDM)</a:t>
            </a:r>
            <a:endParaRPr lang="en-US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Tahap 1 </a:t>
            </a: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 pelayanan dasar semua terpenu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Tahap 4 </a:t>
            </a:r>
            <a:endParaRPr lang="id-ID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</p:txBody>
      </p:sp>
      <p:sp>
        <p:nvSpPr>
          <p:cNvPr id="283" name="Google Shape;2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32690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1200" b="1" strike="sngStrike" noProof="1">
                <a:solidFill>
                  <a:srgbClr val="C00000"/>
                </a:solidFill>
                <a:latin typeface="Arial Nova" panose="020B0504020202020204" pitchFamily="34" charset="0"/>
              </a:rPr>
              <a:t>pembangunan SDM untuk semua  yang berkualitas, </a:t>
            </a:r>
            <a:r>
              <a:rPr lang="id-ID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Pemenuhan pelayanan dasar dan pembangunan fondasi Sumber Daya Manusia (SDM)</a:t>
            </a:r>
            <a:endParaRPr lang="en-US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Tahap 1 </a:t>
            </a: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 pelayanan dasar semua terpenu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Tahap 4 </a:t>
            </a:r>
            <a:endParaRPr lang="id-ID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</p:txBody>
      </p:sp>
      <p:sp>
        <p:nvSpPr>
          <p:cNvPr id="283" name="Google Shape;2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80663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1200" b="1" strike="sngStrike" noProof="1">
                <a:solidFill>
                  <a:srgbClr val="C00000"/>
                </a:solidFill>
                <a:latin typeface="Arial Nova" panose="020B0504020202020204" pitchFamily="34" charset="0"/>
              </a:rPr>
              <a:t>pembangunan SDM untuk semua  yang berkualitas, </a:t>
            </a:r>
            <a:r>
              <a:rPr lang="id-ID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Pemenuhan pelayanan dasar dan pembangunan fondasi Sumber Daya Manusia (SDM)</a:t>
            </a:r>
            <a:endParaRPr lang="en-US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</a:rPr>
              <a:t>Tahap 1 </a:t>
            </a: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 pelayanan dasar semua terpenu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1">
                <a:solidFill>
                  <a:srgbClr val="0000FF"/>
                </a:solidFill>
                <a:latin typeface="Arial Nova" panose="020B0504020202020204" pitchFamily="34" charset="0"/>
                <a:sym typeface="Wingdings" panose="05000000000000000000" pitchFamily="2" charset="2"/>
              </a:rPr>
              <a:t>Tahap 4 </a:t>
            </a:r>
            <a:endParaRPr lang="id-ID" sz="1200" b="1" noProof="1">
              <a:solidFill>
                <a:srgbClr val="0000FF"/>
              </a:solidFill>
              <a:latin typeface="Arial Nova" panose="020B0504020202020204" pitchFamily="34" charset="0"/>
            </a:endParaRPr>
          </a:p>
        </p:txBody>
      </p:sp>
      <p:sp>
        <p:nvSpPr>
          <p:cNvPr id="283" name="Google Shape;2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45010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88B9A-1D67-402C-891F-26358295B9B8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  <p:pic>
        <p:nvPicPr>
          <p:cNvPr id="7" name="Picture 3" descr="E:\Yanuar\Dropbox\Kerjaan\ppt_template_bappenas_newLogo\logo_Bappenas2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36715" y="422695"/>
            <a:ext cx="1042058" cy="10092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8" name="Picture 2" descr="C:\Users\maliki\Documents\nta-logo.png"/>
          <p:cNvPicPr>
            <a:picLocks noChangeAspect="1" noChangeArrowheads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226" y="543559"/>
            <a:ext cx="2174756" cy="76756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41113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01CEC-AACF-45F8-A209-47E92B88DD8E}" type="datetime1">
              <a:rPr lang="id-ID" smtClean="0"/>
              <a:t>12/02/2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21884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C52BD-C0EC-42CA-837A-6179C15E9F83}" type="datetime1">
              <a:rPr lang="id-ID" smtClean="0"/>
              <a:t>12/02/2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84311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79644-FE84-4863-8409-340805B9DC88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06817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E3B40-9713-482D-BAF2-9792EE4FF32B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676329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3722146"/>
            <a:ext cx="12192002" cy="3135854"/>
          </a:xfrm>
          <a:prstGeom prst="rect">
            <a:avLst/>
          </a:prstGeom>
          <a:gradFill flip="none" rotWithShape="1">
            <a:gsLst>
              <a:gs pos="43000">
                <a:srgbClr val="569835"/>
              </a:gs>
              <a:gs pos="26000">
                <a:srgbClr val="D61621"/>
              </a:gs>
              <a:gs pos="0">
                <a:srgbClr val="FAA634"/>
              </a:gs>
              <a:gs pos="100000">
                <a:srgbClr val="00508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430228" y="-32315"/>
            <a:ext cx="831448" cy="882170"/>
            <a:chOff x="11429999" y="-12799"/>
            <a:chExt cx="831448" cy="1232433"/>
          </a:xfrm>
        </p:grpSpPr>
        <p:sp>
          <p:nvSpPr>
            <p:cNvPr id="14" name="Rectangle 13"/>
            <p:cNvSpPr/>
            <p:nvPr userDrawn="1"/>
          </p:nvSpPr>
          <p:spPr>
            <a:xfrm>
              <a:off x="11679943" y="-12799"/>
              <a:ext cx="484826" cy="1067540"/>
            </a:xfrm>
            <a:prstGeom prst="rect">
              <a:avLst/>
            </a:prstGeom>
            <a:solidFill>
              <a:srgbClr val="005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/>
            <p:cNvSpPr/>
            <p:nvPr userDrawn="1"/>
          </p:nvSpPr>
          <p:spPr>
            <a:xfrm>
              <a:off x="11429999" y="766556"/>
              <a:ext cx="831448" cy="45307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7" name="Flowchart: Manual Input 6"/>
          <p:cNvSpPr/>
          <p:nvPr userDrawn="1"/>
        </p:nvSpPr>
        <p:spPr>
          <a:xfrm flipV="1">
            <a:off x="-1698" y="3420928"/>
            <a:ext cx="12193699" cy="3263943"/>
          </a:xfrm>
          <a:prstGeom prst="trapezoid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70343" y="139658"/>
            <a:ext cx="484826" cy="198805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7" y="-54856"/>
            <a:ext cx="976134" cy="9047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642" y="4885"/>
            <a:ext cx="10561527" cy="658382"/>
          </a:xfrm>
        </p:spPr>
        <p:txBody>
          <a:bodyPr>
            <a:normAutofit/>
          </a:bodyPr>
          <a:lstStyle>
            <a:lvl1pPr algn="ctr">
              <a:defRPr sz="3200" b="1">
                <a:solidFill>
                  <a:srgbClr val="00508F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/>
          <a:srcRect l="23751" t="90229" r="6263" b="8083"/>
          <a:stretch/>
        </p:blipFill>
        <p:spPr>
          <a:xfrm>
            <a:off x="0" y="6684871"/>
            <a:ext cx="12164770" cy="17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256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13"/>
          <p:cNvCxnSpPr>
            <a:cxnSpLocks noChangeShapeType="1"/>
          </p:cNvCxnSpPr>
          <p:nvPr userDrawn="1"/>
        </p:nvCxnSpPr>
        <p:spPr bwMode="auto">
          <a:xfrm>
            <a:off x="472017" y="933451"/>
            <a:ext cx="11216216" cy="0"/>
          </a:xfrm>
          <a:prstGeom prst="line">
            <a:avLst/>
          </a:prstGeom>
          <a:noFill/>
          <a:ln w="9525" algn="ctr">
            <a:solidFill>
              <a:schemeClr val="accent2">
                <a:lumMod val="75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801352" y="6493936"/>
            <a:ext cx="1380067" cy="36406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E6CDA-0991-40BD-B45C-DB6A819ABA09}" type="slidenum">
              <a:rPr lang="id-ID" altLang="id-ID" smtClean="0"/>
              <a:pPr>
                <a:defRPr/>
              </a:pPr>
              <a:t>‹#›</a:t>
            </a:fld>
            <a:endParaRPr lang="id-ID" altLang="id-ID" dirty="0"/>
          </a:p>
        </p:txBody>
      </p:sp>
      <p:pic>
        <p:nvPicPr>
          <p:cNvPr id="6" name="Picture 3" descr="E:\Yanuar\Dropbox\Kerjaan\ppt_template_bappenas_newLogo\logo_Bappenas2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801351" y="2"/>
            <a:ext cx="1009649" cy="977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5620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472" y="1"/>
            <a:ext cx="12196472" cy="78968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54470"/>
            <a:ext cx="2743200" cy="365125"/>
          </a:xfrm>
          <a:prstGeom prst="rect">
            <a:avLst/>
          </a:prstGeom>
        </p:spPr>
        <p:txBody>
          <a:bodyPr/>
          <a:lstStyle/>
          <a:p>
            <a:fld id="{9D3E7692-F784-44E0-BFD5-F054EF52509E}" type="datetime1">
              <a:rPr lang="id-ID" smtClean="0"/>
              <a:t>12/02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92701" y="4919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050" b="1" i="1">
                <a:solidFill>
                  <a:srgbClr val="0070C0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69" y="31034"/>
            <a:ext cx="50082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956" y="-1240"/>
            <a:ext cx="788856" cy="780163"/>
          </a:xfrm>
          <a:prstGeom prst="rect">
            <a:avLst/>
          </a:prstGeom>
        </p:spPr>
      </p:pic>
      <p:sp>
        <p:nvSpPr>
          <p:cNvPr id="12" name="Rounded Rectangle 11"/>
          <p:cNvSpPr/>
          <p:nvPr userDrawn="1"/>
        </p:nvSpPr>
        <p:spPr>
          <a:xfrm>
            <a:off x="11607501" y="6554470"/>
            <a:ext cx="559639" cy="287266"/>
          </a:xfrm>
          <a:prstGeom prst="roundRect">
            <a:avLst/>
          </a:prstGeom>
          <a:solidFill>
            <a:srgbClr val="CCDBE9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5648" y="6511095"/>
            <a:ext cx="1021491" cy="330641"/>
          </a:xfrm>
        </p:spPr>
        <p:txBody>
          <a:bodyPr/>
          <a:lstStyle>
            <a:lvl1pPr algn="r">
              <a:defRPr b="1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FEDA7C93-9141-4A12-827E-60EB1BD797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43042" y="526488"/>
            <a:ext cx="688478" cy="27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"/>
              </a:lnSpc>
            </a:pPr>
            <a:r>
              <a:rPr lang="en-US" sz="700" b="1" dirty="0">
                <a:solidFill>
                  <a:schemeClr val="accent4">
                    <a:lumMod val="50000"/>
                  </a:schemeClr>
                </a:solidFill>
                <a:effectLst>
                  <a:glow rad="63500">
                    <a:schemeClr val="bg1">
                      <a:alpha val="40000"/>
                    </a:schemeClr>
                  </a:glo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REPUBLIK INDONESIA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970413" y="6564737"/>
            <a:ext cx="20522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200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Edit</a:t>
            </a:r>
            <a:r>
              <a:rPr lang="id-ID" sz="1200" b="1" i="1" baseline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 tanggal </a:t>
            </a:r>
            <a:r>
              <a:rPr lang="id-ID" sz="1200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26</a:t>
            </a:r>
            <a:r>
              <a:rPr lang="id-ID" sz="1200" b="1" i="1" baseline="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 Agustus </a:t>
            </a:r>
            <a:r>
              <a:rPr lang="id-ID" sz="1200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3832847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2" r="24758"/>
          <a:stretch/>
        </p:blipFill>
        <p:spPr>
          <a:xfrm rot="16200000">
            <a:off x="5669172" y="-5739724"/>
            <a:ext cx="823877" cy="1227603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1725061" y="6666086"/>
            <a:ext cx="428423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293" y="1021343"/>
            <a:ext cx="11949698" cy="538637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2" descr="E:\Yanuar\Dropbox\Kerjaan\ppt_template_bappenas_newLogo\gradient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386997" y="1279083"/>
            <a:ext cx="198804" cy="1097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62305" y="6666086"/>
            <a:ext cx="484827" cy="198805"/>
          </a:xfrm>
        </p:spPr>
        <p:txBody>
          <a:bodyPr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027946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377131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557" y="25401"/>
            <a:ext cx="793575" cy="784829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007293" y="25401"/>
            <a:ext cx="10189492" cy="784829"/>
          </a:xfrm>
        </p:spPr>
        <p:txBody>
          <a:bodyPr>
            <a:normAutofit/>
          </a:bodyPr>
          <a:lstStyle>
            <a:lvl1pPr algn="ctr">
              <a:defRPr sz="3200" b="1" i="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34" y="31041"/>
            <a:ext cx="50069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sp>
        <p:nvSpPr>
          <p:cNvPr id="17" name="TextBox 16"/>
          <p:cNvSpPr txBox="1"/>
          <p:nvPr userDrawn="1"/>
        </p:nvSpPr>
        <p:spPr>
          <a:xfrm>
            <a:off x="43034" y="526493"/>
            <a:ext cx="688299" cy="27186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>
                <a:solidFill>
                  <a:srgbClr val="FFC000">
                    <a:lumMod val="50000"/>
                  </a:srgbClr>
                </a:solidFill>
                <a:effectLst>
                  <a:glow rad="63500">
                    <a:prstClr val="white">
                      <a:alpha val="40000"/>
                    </a:prstClr>
                  </a:glow>
                </a:effectLst>
                <a:ea typeface="MS PGothic" pitchFamily="34" charset="-128"/>
                <a:cs typeface="Arial" pitchFamily="34" charset="0"/>
              </a:rPr>
              <a:t>REPUBLIK INDONESIA</a:t>
            </a:r>
          </a:p>
        </p:txBody>
      </p:sp>
    </p:spTree>
    <p:extLst>
      <p:ext uri="{BB962C8B-B14F-4D97-AF65-F5344CB8AC3E}">
        <p14:creationId xmlns:p14="http://schemas.microsoft.com/office/powerpoint/2010/main" val="25764031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2" r="24758"/>
          <a:stretch/>
        </p:blipFill>
        <p:spPr>
          <a:xfrm rot="16200000">
            <a:off x="5669172" y="-5739724"/>
            <a:ext cx="823877" cy="1227603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1725061" y="6666086"/>
            <a:ext cx="428423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0" name="Picture 2" descr="E:\Yanuar\Dropbox\Kerjaan\ppt_template_bappenas_newLogo\gradient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386997" y="1279083"/>
            <a:ext cx="198804" cy="1097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62305" y="6666086"/>
            <a:ext cx="484827" cy="198805"/>
          </a:xfrm>
        </p:spPr>
        <p:txBody>
          <a:bodyPr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027946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377131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557" y="25401"/>
            <a:ext cx="793575" cy="784829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003396" y="5876"/>
            <a:ext cx="10189492" cy="784829"/>
          </a:xfrm>
        </p:spPr>
        <p:txBody>
          <a:bodyPr>
            <a:normAutofit/>
          </a:bodyPr>
          <a:lstStyle>
            <a:lvl1pPr algn="ctr">
              <a:defRPr sz="3200" b="1" i="0">
                <a:latin typeface="Cambria" panose="020405030504060302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34" y="31041"/>
            <a:ext cx="50069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sp>
        <p:nvSpPr>
          <p:cNvPr id="17" name="TextBox 16"/>
          <p:cNvSpPr txBox="1"/>
          <p:nvPr userDrawn="1"/>
        </p:nvSpPr>
        <p:spPr>
          <a:xfrm>
            <a:off x="43034" y="526493"/>
            <a:ext cx="688299" cy="27186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>
                <a:solidFill>
                  <a:srgbClr val="FFC000">
                    <a:lumMod val="50000"/>
                  </a:srgbClr>
                </a:solidFill>
                <a:effectLst>
                  <a:glow rad="63500">
                    <a:prstClr val="white">
                      <a:alpha val="40000"/>
                    </a:prstClr>
                  </a:glow>
                </a:effectLst>
                <a:ea typeface="MS PGothic" pitchFamily="34" charset="-128"/>
                <a:cs typeface="Arial" pitchFamily="34" charset="0"/>
              </a:rPr>
              <a:t>REPUBLIK INDONESIA</a:t>
            </a:r>
          </a:p>
        </p:txBody>
      </p:sp>
    </p:spTree>
    <p:extLst>
      <p:ext uri="{BB962C8B-B14F-4D97-AF65-F5344CB8AC3E}">
        <p14:creationId xmlns:p14="http://schemas.microsoft.com/office/powerpoint/2010/main" val="1709090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2" r="24758"/>
          <a:stretch/>
        </p:blipFill>
        <p:spPr>
          <a:xfrm rot="16200000">
            <a:off x="5669172" y="-5739724"/>
            <a:ext cx="823877" cy="1227603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1725061" y="6666086"/>
            <a:ext cx="428423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0" name="Picture 2" descr="E:\Yanuar\Dropbox\Kerjaan\ppt_template_bappenas_newLogo\gradient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386997" y="1279083"/>
            <a:ext cx="198804" cy="1097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62305" y="6666086"/>
            <a:ext cx="484827" cy="198805"/>
          </a:xfrm>
        </p:spPr>
        <p:txBody>
          <a:bodyPr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027946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377131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557" y="25401"/>
            <a:ext cx="793575" cy="784829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007293" y="25401"/>
            <a:ext cx="10189492" cy="737577"/>
          </a:xfrm>
        </p:spPr>
        <p:txBody>
          <a:bodyPr>
            <a:normAutofit/>
          </a:bodyPr>
          <a:lstStyle>
            <a:lvl1pPr algn="ctr">
              <a:defRPr sz="3200" b="1" i="0">
                <a:latin typeface="Cambria" panose="020405030504060302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34" y="31041"/>
            <a:ext cx="50069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sp>
        <p:nvSpPr>
          <p:cNvPr id="17" name="TextBox 16"/>
          <p:cNvSpPr txBox="1"/>
          <p:nvPr userDrawn="1"/>
        </p:nvSpPr>
        <p:spPr>
          <a:xfrm>
            <a:off x="43034" y="526493"/>
            <a:ext cx="688299" cy="27186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>
                <a:solidFill>
                  <a:srgbClr val="FFC000">
                    <a:lumMod val="50000"/>
                  </a:srgbClr>
                </a:solidFill>
                <a:effectLst>
                  <a:glow rad="63500">
                    <a:prstClr val="white">
                      <a:alpha val="40000"/>
                    </a:prstClr>
                  </a:glow>
                </a:effectLst>
                <a:ea typeface="MS PGothic" pitchFamily="34" charset="-128"/>
                <a:cs typeface="Arial" pitchFamily="34" charset="0"/>
              </a:rPr>
              <a:t>REPUBLIK INDONESIA</a:t>
            </a:r>
          </a:p>
        </p:txBody>
      </p:sp>
    </p:spTree>
    <p:extLst>
      <p:ext uri="{BB962C8B-B14F-4D97-AF65-F5344CB8AC3E}">
        <p14:creationId xmlns:p14="http://schemas.microsoft.com/office/powerpoint/2010/main" val="370606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072" y="365125"/>
            <a:ext cx="8393502" cy="7908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97D9D-6915-4863-AB3B-4D4C058B93BF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  <p:pic>
        <p:nvPicPr>
          <p:cNvPr id="7" name="Picture 3" descr="E:\Yanuar\Dropbox\Kerjaan\ppt_template_bappenas_newLogo\logo_Bappenas2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5100" y="146650"/>
            <a:ext cx="1042058" cy="10092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8" name="Picture 2" descr="C:\Users\maliki\Documents\nta-logo.png"/>
          <p:cNvPicPr>
            <a:picLocks noChangeAspect="1" noChangeArrowheads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5869" y="388380"/>
            <a:ext cx="1961449" cy="69227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737949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2" r="24758"/>
          <a:stretch/>
        </p:blipFill>
        <p:spPr>
          <a:xfrm rot="16200000">
            <a:off x="5669174" y="-5739724"/>
            <a:ext cx="823877" cy="1227603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1725061" y="6666086"/>
            <a:ext cx="428423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4" tIns="26994" rIns="26994" bIns="26994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294" y="1021343"/>
            <a:ext cx="11949698" cy="538637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2" descr="E:\Yanuar\Dropbox\Kerjaan\ppt_template_bappenas_newLogo\gradient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386997" y="1279083"/>
            <a:ext cx="198804" cy="1097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62307" y="6666086"/>
            <a:ext cx="484827" cy="198805"/>
          </a:xfrm>
        </p:spPr>
        <p:txBody>
          <a:bodyPr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027948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377133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559" y="25403"/>
            <a:ext cx="793575" cy="784829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007294" y="25403"/>
            <a:ext cx="10189492" cy="784829"/>
          </a:xfrm>
        </p:spPr>
        <p:txBody>
          <a:bodyPr>
            <a:normAutofit/>
          </a:bodyPr>
          <a:lstStyle>
            <a:lvl1pPr algn="ctr">
              <a:defRPr sz="3200" b="1" i="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34" y="31043"/>
            <a:ext cx="50069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sp>
        <p:nvSpPr>
          <p:cNvPr id="17" name="TextBox 16"/>
          <p:cNvSpPr txBox="1"/>
          <p:nvPr userDrawn="1"/>
        </p:nvSpPr>
        <p:spPr>
          <a:xfrm>
            <a:off x="43036" y="526495"/>
            <a:ext cx="688299" cy="271869"/>
          </a:xfrm>
          <a:prstGeom prst="rect">
            <a:avLst/>
          </a:prstGeom>
          <a:noFill/>
        </p:spPr>
        <p:txBody>
          <a:bodyPr lIns="91420" tIns="45710" rIns="91420" bIns="4571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>
                <a:solidFill>
                  <a:srgbClr val="FFC000">
                    <a:lumMod val="50000"/>
                  </a:srgbClr>
                </a:solidFill>
                <a:effectLst>
                  <a:glow rad="63500">
                    <a:prstClr val="white">
                      <a:alpha val="40000"/>
                    </a:prstClr>
                  </a:glow>
                </a:effectLst>
                <a:ea typeface="MS PGothic" pitchFamily="34" charset="-128"/>
                <a:cs typeface="Arial" pitchFamily="34" charset="0"/>
              </a:rPr>
              <a:t>REPUBLIK INDONESIA</a:t>
            </a:r>
          </a:p>
        </p:txBody>
      </p:sp>
    </p:spTree>
    <p:extLst>
      <p:ext uri="{BB962C8B-B14F-4D97-AF65-F5344CB8AC3E}">
        <p14:creationId xmlns:p14="http://schemas.microsoft.com/office/powerpoint/2010/main" val="13779842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2" r="24758"/>
          <a:stretch/>
        </p:blipFill>
        <p:spPr>
          <a:xfrm rot="16200000">
            <a:off x="5669174" y="-5739724"/>
            <a:ext cx="823877" cy="1227603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1725061" y="6666086"/>
            <a:ext cx="428423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4" tIns="26994" rIns="26994" bIns="26994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294" y="1021343"/>
            <a:ext cx="11949698" cy="538637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2" descr="E:\Yanuar\Dropbox\Kerjaan\ppt_template_bappenas_newLogo\gradient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386997" y="1279083"/>
            <a:ext cx="198804" cy="1097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62307" y="6666086"/>
            <a:ext cx="484827" cy="198805"/>
          </a:xfrm>
        </p:spPr>
        <p:txBody>
          <a:bodyPr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192C646E-8A71-4229-9321-274B093DFD0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027948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377133" y="6666086"/>
            <a:ext cx="291525" cy="198805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559" y="25403"/>
            <a:ext cx="793575" cy="784829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007294" y="25403"/>
            <a:ext cx="10189492" cy="784829"/>
          </a:xfrm>
        </p:spPr>
        <p:txBody>
          <a:bodyPr>
            <a:normAutofit/>
          </a:bodyPr>
          <a:lstStyle>
            <a:lvl1pPr algn="ctr">
              <a:defRPr sz="3200" b="1" i="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34" y="31043"/>
            <a:ext cx="500690" cy="518891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sp>
        <p:nvSpPr>
          <p:cNvPr id="17" name="TextBox 16"/>
          <p:cNvSpPr txBox="1"/>
          <p:nvPr userDrawn="1"/>
        </p:nvSpPr>
        <p:spPr>
          <a:xfrm>
            <a:off x="43036" y="526495"/>
            <a:ext cx="688299" cy="271869"/>
          </a:xfrm>
          <a:prstGeom prst="rect">
            <a:avLst/>
          </a:prstGeom>
          <a:noFill/>
        </p:spPr>
        <p:txBody>
          <a:bodyPr lIns="91420" tIns="45710" rIns="91420" bIns="4571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>
                <a:solidFill>
                  <a:srgbClr val="FFC000">
                    <a:lumMod val="50000"/>
                  </a:srgbClr>
                </a:solidFill>
                <a:effectLst>
                  <a:glow rad="63500">
                    <a:prstClr val="white">
                      <a:alpha val="40000"/>
                    </a:prstClr>
                  </a:glow>
                </a:effectLst>
                <a:ea typeface="MS PGothic" pitchFamily="34" charset="-128"/>
                <a:cs typeface="Arial" pitchFamily="34" charset="0"/>
              </a:rPr>
              <a:t>REPUBLIK INDONESIA</a:t>
            </a:r>
          </a:p>
        </p:txBody>
      </p:sp>
    </p:spTree>
    <p:extLst>
      <p:ext uri="{BB962C8B-B14F-4D97-AF65-F5344CB8AC3E}">
        <p14:creationId xmlns:p14="http://schemas.microsoft.com/office/powerpoint/2010/main" val="39314757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 userDrawn="1">
  <p:cSld name="1_Custom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6062407-F2F9-8732-041E-D19438EA73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4240"/>
            <a:ext cx="12192000" cy="5768864"/>
          </a:xfrm>
          <a:prstGeom prst="rect">
            <a:avLst/>
          </a:prstGeom>
        </p:spPr>
      </p:pic>
      <p:sp>
        <p:nvSpPr>
          <p:cNvPr id="9" name="Google Shape;23;p48">
            <a:extLst>
              <a:ext uri="{FF2B5EF4-FFF2-40B4-BE49-F238E27FC236}">
                <a16:creationId xmlns:a16="http://schemas.microsoft.com/office/drawing/2014/main" id="{38230B87-C82C-4020-F41F-88E1D76418DA}"/>
              </a:ext>
            </a:extLst>
          </p:cNvPr>
          <p:cNvSpPr/>
          <p:nvPr userDrawn="1"/>
        </p:nvSpPr>
        <p:spPr>
          <a:xfrm>
            <a:off x="0" y="6646459"/>
            <a:ext cx="12190814" cy="214745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 i="0" u="none" strike="noStrike" cap="none" dirty="0">
              <a:solidFill>
                <a:schemeClr val="bg1"/>
              </a:solidFill>
              <a:latin typeface="Arial Nova" panose="020B0504020202020204" pitchFamily="34" charset="0"/>
              <a:ea typeface="Candara"/>
              <a:cs typeface="Helvetica" panose="020B0604020202020204" pitchFamily="34" charset="0"/>
              <a:sym typeface="Candar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0722A3-2480-ED9A-716E-CC1DC71DCA61}"/>
              </a:ext>
            </a:extLst>
          </p:cNvPr>
          <p:cNvSpPr/>
          <p:nvPr userDrawn="1"/>
        </p:nvSpPr>
        <p:spPr>
          <a:xfrm>
            <a:off x="11018520" y="0"/>
            <a:ext cx="1030045" cy="548640"/>
          </a:xfrm>
          <a:prstGeom prst="rect">
            <a:avLst/>
          </a:prstGeom>
          <a:solidFill>
            <a:srgbClr val="005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Google Shape;25;p48">
            <a:extLst>
              <a:ext uri="{FF2B5EF4-FFF2-40B4-BE49-F238E27FC236}">
                <a16:creationId xmlns:a16="http://schemas.microsoft.com/office/drawing/2014/main" id="{2E7CBFB8-BD1A-22E9-1804-0C154F912E0B}"/>
              </a:ext>
            </a:extLst>
          </p:cNvPr>
          <p:cNvSpPr txBox="1">
            <a:spLocks/>
          </p:cNvSpPr>
          <p:nvPr userDrawn="1"/>
        </p:nvSpPr>
        <p:spPr>
          <a:xfrm>
            <a:off x="9447615" y="657126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defPPr>
              <a:defRPr lang="en-US"/>
            </a:defPPr>
            <a:lvl1pPr marL="0" lvl="0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Arial Nova Cond" panose="020B0506020202020204" pitchFamily="34" charset="0"/>
                <a:ea typeface="Arial Nova Cond" panose="020B0506020202020204" pitchFamily="34" charset="0"/>
                <a:cs typeface="Calibri"/>
                <a:sym typeface="Calibri"/>
              </a:defRPr>
            </a:lvl1pPr>
            <a:lvl2pPr marL="0" lvl="1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 defTabSz="914400" rtl="0" eaLnBrk="1" latinLnBrk="0" hangingPunct="1">
              <a:spcBef>
                <a:spcPts val="0"/>
              </a:spcBef>
              <a:buNone/>
              <a:defRPr sz="1200" kern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Google Shape;27;p40"/>
          <p:cNvSpPr txBox="1">
            <a:spLocks noGrp="1"/>
          </p:cNvSpPr>
          <p:nvPr>
            <p:ph type="sldNum" idx="12"/>
          </p:nvPr>
        </p:nvSpPr>
        <p:spPr>
          <a:xfrm>
            <a:off x="9387205" y="657526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5D5DABD-F408-300B-7F24-F57199C54AA2}"/>
              </a:ext>
            </a:extLst>
          </p:cNvPr>
          <p:cNvSpPr/>
          <p:nvPr userDrawn="1"/>
        </p:nvSpPr>
        <p:spPr>
          <a:xfrm>
            <a:off x="143435" y="80299"/>
            <a:ext cx="2554941" cy="6368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B41F823-E712-47FF-DE36-67A9BD34D26F}"/>
              </a:ext>
            </a:extLst>
          </p:cNvPr>
          <p:cNvGrpSpPr/>
          <p:nvPr userDrawn="1"/>
        </p:nvGrpSpPr>
        <p:grpSpPr>
          <a:xfrm>
            <a:off x="9940" y="0"/>
            <a:ext cx="12190814" cy="914400"/>
            <a:chOff x="1" y="0"/>
            <a:chExt cx="12190814" cy="9144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C67618-EEA8-26B3-B5DE-F0BE6F23D830}"/>
                </a:ext>
              </a:extLst>
            </p:cNvPr>
            <p:cNvSpPr/>
            <p:nvPr userDrawn="1"/>
          </p:nvSpPr>
          <p:spPr>
            <a:xfrm>
              <a:off x="1" y="0"/>
              <a:ext cx="12190814" cy="904240"/>
            </a:xfrm>
            <a:prstGeom prst="rect">
              <a:avLst/>
            </a:prstGeom>
            <a:solidFill>
              <a:srgbClr val="0050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9E0BFE8-CBD8-7A5D-D646-23C1DF0194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914"/>
            <a:stretch/>
          </p:blipFill>
          <p:spPr>
            <a:xfrm>
              <a:off x="1" y="0"/>
              <a:ext cx="1181608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464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3859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5287400E-80AB-4E0D-8368-5EDB90201E25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76100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5965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89C8EE80-A448-4736-AED7-0D9CFCC2F3A6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56048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5B3EA-3280-4084-B782-370F4F10C0FF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091367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F878C-33EC-4A94-A110-71AE8A46C79D}" type="datetime1">
              <a:rPr lang="id-ID" smtClean="0"/>
              <a:t>12/02/2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7718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47D370-EDB8-44C4-97AE-666CEFF99FFE}" type="datetime1">
              <a:rPr lang="id-ID" smtClean="0"/>
              <a:t>12/02/23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4627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36112-7DC3-4D1C-B3BC-93EBCA44F31F}" type="datetime1">
              <a:rPr lang="id-ID" smtClean="0"/>
              <a:t>12/02/23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73006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BCA9F-A7D1-4BBF-9EA9-839939F5E55B}" type="datetime1">
              <a:rPr lang="id-ID" smtClean="0"/>
              <a:t>12/02/23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84890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B73B66-3B8C-416A-8FC8-DD857354C968}" type="datetime1">
              <a:rPr lang="id-ID" smtClean="0"/>
              <a:t>12/02/2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0F239-33F8-4DDE-9A1B-199248B2156C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4827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65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  <p:sldLayoutId id="2147483662" r:id="rId15"/>
    <p:sldLayoutId id="2147483663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7" Type="http://schemas.openxmlformats.org/officeDocument/2006/relationships/chart" Target="../charts/chart23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10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7" Type="http://schemas.openxmlformats.org/officeDocument/2006/relationships/chart" Target="../charts/chart16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4296" y="2895777"/>
            <a:ext cx="10611678" cy="533223"/>
          </a:xfrm>
          <a:noFill/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id-ID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rPr>
              <a:t>Regional Disparity in </a:t>
            </a:r>
            <a:r>
              <a:rPr lang="id-ID" sz="3600" b="1" dirty="0">
                <a:solidFill>
                  <a:schemeClr val="accent2"/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rPr>
              <a:t>Demographic Dividen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3522" y="5376974"/>
            <a:ext cx="11313226" cy="1088431"/>
          </a:xfrm>
        </p:spPr>
        <p:txBody>
          <a:bodyPr>
            <a:normAutofit/>
          </a:bodyPr>
          <a:lstStyle/>
          <a:p>
            <a:endParaRPr lang="id-ID" sz="14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d-ID" sz="1400" b="1" i="1" dirty="0">
                <a:latin typeface="Poppins" panose="00000500000000000000" pitchFamily="2" charset="0"/>
                <a:cs typeface="Poppins" panose="00000500000000000000" pitchFamily="2" charset="0"/>
              </a:rPr>
              <a:t>17</a:t>
            </a:r>
            <a:r>
              <a:rPr lang="id-ID" sz="1400" b="1" i="1" baseline="30000" dirty="0"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id-ID" sz="1400" b="1" i="1" dirty="0">
                <a:latin typeface="Poppins" panose="00000500000000000000" pitchFamily="2" charset="0"/>
                <a:cs typeface="Poppins" panose="00000500000000000000" pitchFamily="2" charset="0"/>
              </a:rPr>
              <a:t> Global Meeting of the National Transfers Account</a:t>
            </a:r>
          </a:p>
          <a:p>
            <a:r>
              <a:rPr lang="id-ID" sz="1400" b="1" i="1" dirty="0">
                <a:latin typeface="Poppins" panose="00000500000000000000" pitchFamily="2" charset="0"/>
                <a:cs typeface="Poppins" panose="00000500000000000000" pitchFamily="2" charset="0"/>
              </a:rPr>
              <a:t>Paris, 14</a:t>
            </a:r>
            <a:r>
              <a:rPr lang="id-ID" sz="1400" b="1" i="1" baseline="30000" dirty="0"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id-ID" sz="1400" b="1" i="1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id-ID" sz="1400" b="1" i="1" dirty="0" err="1">
                <a:latin typeface="Poppins" panose="00000500000000000000" pitchFamily="2" charset="0"/>
                <a:cs typeface="Poppins" panose="00000500000000000000" pitchFamily="2" charset="0"/>
              </a:rPr>
              <a:t>February</a:t>
            </a:r>
            <a:r>
              <a:rPr lang="id-ID" sz="1400" b="1" i="1" dirty="0">
                <a:latin typeface="Poppins" panose="00000500000000000000" pitchFamily="2" charset="0"/>
                <a:cs typeface="Poppins" panose="00000500000000000000" pitchFamily="2" charset="0"/>
              </a:rPr>
              <a:t> 2023</a:t>
            </a:r>
            <a:endParaRPr lang="id-ID" sz="1200" b="1" i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d-ID" sz="14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d-ID" sz="18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1658135" y="4617463"/>
            <a:ext cx="9144000" cy="8175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000" b="1" dirty="0">
                <a:latin typeface="Poppins" panose="00000500000000000000" pitchFamily="2" charset="0"/>
                <a:cs typeface="Poppins" panose="00000500000000000000" pitchFamily="2" charset="0"/>
              </a:rPr>
              <a:t>Maliki, </a:t>
            </a:r>
            <a:r>
              <a:rPr lang="id-ID" sz="2000" b="1" dirty="0" err="1">
                <a:latin typeface="Poppins" panose="00000500000000000000" pitchFamily="2" charset="0"/>
                <a:cs typeface="Poppins" panose="00000500000000000000" pitchFamily="2" charset="0"/>
              </a:rPr>
              <a:t>Widaryatmo</a:t>
            </a:r>
            <a:r>
              <a:rPr lang="id-ID" sz="2000" b="1" dirty="0"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id-ID" sz="2000" b="1" dirty="0" err="1">
                <a:latin typeface="Poppins" panose="00000500000000000000" pitchFamily="2" charset="0"/>
                <a:cs typeface="Poppins" panose="00000500000000000000" pitchFamily="2" charset="0"/>
              </a:rPr>
              <a:t>hariyadi</a:t>
            </a:r>
            <a:endParaRPr lang="id-ID" sz="20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Director for Poverty Alleviation and Community Empowerment</a:t>
            </a:r>
            <a:endParaRPr lang="id-ID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d-ID" sz="1400" dirty="0">
                <a:latin typeface="Poppins" panose="00000500000000000000" pitchFamily="2" charset="0"/>
                <a:cs typeface="Poppins" panose="00000500000000000000" pitchFamily="2" charset="0"/>
              </a:rPr>
              <a:t>Ministry of National Development Planning/ National Development Planning Agency (BAPPENAS)</a:t>
            </a:r>
          </a:p>
        </p:txBody>
      </p:sp>
    </p:spTree>
    <p:extLst>
      <p:ext uri="{BB962C8B-B14F-4D97-AF65-F5344CB8AC3E}">
        <p14:creationId xmlns:p14="http://schemas.microsoft.com/office/powerpoint/2010/main" val="2040694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30676-474C-92C5-B9B2-0410A106F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865D52-6D1B-73BA-7B2F-125B4A527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10</a:t>
            </a:fld>
            <a:endParaRPr lang="id-ID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ED83D2A-99BB-884D-8084-4313A5650A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2408286"/>
              </p:ext>
            </p:extLst>
          </p:nvPr>
        </p:nvGraphicFramePr>
        <p:xfrm>
          <a:off x="545938" y="1476615"/>
          <a:ext cx="9046635" cy="5016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C5BFBCFD-0F81-D695-F445-FDD77615FE87}"/>
              </a:ext>
            </a:extLst>
          </p:cNvPr>
          <p:cNvSpPr/>
          <p:nvPr/>
        </p:nvSpPr>
        <p:spPr>
          <a:xfrm>
            <a:off x="5451677" y="3429000"/>
            <a:ext cx="949124" cy="659757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16D369D-0E76-DC21-19A2-7FBC098A87F1}"/>
              </a:ext>
            </a:extLst>
          </p:cNvPr>
          <p:cNvSpPr/>
          <p:nvPr/>
        </p:nvSpPr>
        <p:spPr>
          <a:xfrm>
            <a:off x="7661476" y="2359045"/>
            <a:ext cx="949124" cy="659757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255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8519AAF-EF7A-E925-1E61-DCB109DA2AEC}"/>
              </a:ext>
            </a:extLst>
          </p:cNvPr>
          <p:cNvSpPr txBox="1"/>
          <p:nvPr/>
        </p:nvSpPr>
        <p:spPr>
          <a:xfrm>
            <a:off x="8205721" y="7946010"/>
            <a:ext cx="1632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595A18-8407-5344-E317-2711A2666B98}"/>
              </a:ext>
            </a:extLst>
          </p:cNvPr>
          <p:cNvSpPr/>
          <p:nvPr/>
        </p:nvSpPr>
        <p:spPr>
          <a:xfrm>
            <a:off x="4216870" y="7892015"/>
            <a:ext cx="93721" cy="93721"/>
          </a:xfrm>
          <a:prstGeom prst="ellipse">
            <a:avLst/>
          </a:prstGeom>
          <a:solidFill>
            <a:srgbClr val="ECD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2FC7B0C-ABEF-7F31-2878-D15C6BAE033F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/>
              <a:t>DEMOGRAPHIC DIVIDEND PER REGION </a:t>
            </a:r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INDONESI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A79FF4-D947-BE7E-300C-E0339CA209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3" t="18953" r="23623" b="8488"/>
          <a:stretch/>
        </p:blipFill>
        <p:spPr>
          <a:xfrm>
            <a:off x="679555" y="1084839"/>
            <a:ext cx="10832889" cy="5362863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74FEC6D-CF58-F4D2-DD24-CF734736C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6889" y="6429583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1</a:t>
            </a:fld>
            <a:endParaRPr lang="id-ID" dirty="0">
              <a:solidFill>
                <a:schemeClr val="accent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4D71C2-7CFE-F063-6216-88AEB73504AD}"/>
              </a:ext>
            </a:extLst>
          </p:cNvPr>
          <p:cNvSpPr txBox="1"/>
          <p:nvPr/>
        </p:nvSpPr>
        <p:spPr>
          <a:xfrm>
            <a:off x="914398" y="1084839"/>
            <a:ext cx="67056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mographic dividend per region using Y-C National 2012, 2016</a:t>
            </a:r>
          </a:p>
        </p:txBody>
      </p:sp>
    </p:spTree>
    <p:extLst>
      <p:ext uri="{BB962C8B-B14F-4D97-AF65-F5344CB8AC3E}">
        <p14:creationId xmlns:p14="http://schemas.microsoft.com/office/powerpoint/2010/main" val="7602809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8519AAF-EF7A-E925-1E61-DCB109DA2AEC}"/>
              </a:ext>
            </a:extLst>
          </p:cNvPr>
          <p:cNvSpPr txBox="1"/>
          <p:nvPr/>
        </p:nvSpPr>
        <p:spPr>
          <a:xfrm>
            <a:off x="8205721" y="7946010"/>
            <a:ext cx="1632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595A18-8407-5344-E317-2711A2666B98}"/>
              </a:ext>
            </a:extLst>
          </p:cNvPr>
          <p:cNvSpPr/>
          <p:nvPr/>
        </p:nvSpPr>
        <p:spPr>
          <a:xfrm>
            <a:off x="4216870" y="7892015"/>
            <a:ext cx="93721" cy="93721"/>
          </a:xfrm>
          <a:prstGeom prst="ellipse">
            <a:avLst/>
          </a:prstGeom>
          <a:solidFill>
            <a:srgbClr val="ECD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80F86E-23B3-425E-DF70-846B5372F8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3" t="17397" r="24203" b="7470"/>
          <a:stretch/>
        </p:blipFill>
        <p:spPr>
          <a:xfrm>
            <a:off x="782319" y="1009441"/>
            <a:ext cx="10627360" cy="551365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17A673-5161-7424-BD30-1C0A0B7A8EB7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/>
              <a:t>DEMOGRAPHIC DIVIDEND PER REGION </a:t>
            </a:r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INDONESIA (2020)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A226EAD-8D5B-3D26-E8B1-B08B773A3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6889" y="6429583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2</a:t>
            </a:fld>
            <a:endParaRPr lang="id-ID" dirty="0">
              <a:solidFill>
                <a:schemeClr val="accent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5A478D-B88A-544C-0602-2C25F6C4E8A0}"/>
              </a:ext>
            </a:extLst>
          </p:cNvPr>
          <p:cNvSpPr txBox="1"/>
          <p:nvPr/>
        </p:nvSpPr>
        <p:spPr>
          <a:xfrm>
            <a:off x="914398" y="1084839"/>
            <a:ext cx="67056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mographic dividend per region using Y-C National 2012, 2020</a:t>
            </a:r>
          </a:p>
        </p:txBody>
      </p:sp>
    </p:spTree>
    <p:extLst>
      <p:ext uri="{BB962C8B-B14F-4D97-AF65-F5344CB8AC3E}">
        <p14:creationId xmlns:p14="http://schemas.microsoft.com/office/powerpoint/2010/main" val="1702827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8519AAF-EF7A-E925-1E61-DCB109DA2AEC}"/>
              </a:ext>
            </a:extLst>
          </p:cNvPr>
          <p:cNvSpPr txBox="1"/>
          <p:nvPr/>
        </p:nvSpPr>
        <p:spPr>
          <a:xfrm>
            <a:off x="8205721" y="7946010"/>
            <a:ext cx="1632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595A18-8407-5344-E317-2711A2666B98}"/>
              </a:ext>
            </a:extLst>
          </p:cNvPr>
          <p:cNvSpPr/>
          <p:nvPr/>
        </p:nvSpPr>
        <p:spPr>
          <a:xfrm>
            <a:off x="4216870" y="7892015"/>
            <a:ext cx="93721" cy="93721"/>
          </a:xfrm>
          <a:prstGeom prst="ellipse">
            <a:avLst/>
          </a:prstGeom>
          <a:solidFill>
            <a:srgbClr val="ECD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30A294-B8EB-40EA-E11B-EC906DAD3A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5" t="17548" r="24321" b="6886"/>
          <a:stretch/>
        </p:blipFill>
        <p:spPr>
          <a:xfrm>
            <a:off x="782320" y="1000140"/>
            <a:ext cx="10627360" cy="563807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183B63A-C6D9-8BF1-DA67-6FA733081FE8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/>
              <a:t>DEMOGRAPHIC DIVIDEND PER REGION </a:t>
            </a:r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INDONESIA (2025)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521E390-206C-DDBF-7964-1897FCFBB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6889" y="6429583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3</a:t>
            </a:fld>
            <a:endParaRPr lang="id-ID" dirty="0">
              <a:solidFill>
                <a:schemeClr val="accent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BE7AA-D5AC-FE3F-7551-9B6A9842992D}"/>
              </a:ext>
            </a:extLst>
          </p:cNvPr>
          <p:cNvSpPr txBox="1"/>
          <p:nvPr/>
        </p:nvSpPr>
        <p:spPr>
          <a:xfrm>
            <a:off x="914398" y="1084839"/>
            <a:ext cx="67056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mographic dividend per region using Y-C National 2012, 2025</a:t>
            </a:r>
          </a:p>
        </p:txBody>
      </p:sp>
    </p:spTree>
    <p:extLst>
      <p:ext uri="{BB962C8B-B14F-4D97-AF65-F5344CB8AC3E}">
        <p14:creationId xmlns:p14="http://schemas.microsoft.com/office/powerpoint/2010/main" val="1364042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8519AAF-EF7A-E925-1E61-DCB109DA2AEC}"/>
              </a:ext>
            </a:extLst>
          </p:cNvPr>
          <p:cNvSpPr txBox="1"/>
          <p:nvPr/>
        </p:nvSpPr>
        <p:spPr>
          <a:xfrm>
            <a:off x="8205721" y="7946010"/>
            <a:ext cx="1632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595A18-8407-5344-E317-2711A2666B98}"/>
              </a:ext>
            </a:extLst>
          </p:cNvPr>
          <p:cNvSpPr/>
          <p:nvPr/>
        </p:nvSpPr>
        <p:spPr>
          <a:xfrm>
            <a:off x="4216870" y="7892015"/>
            <a:ext cx="93721" cy="93721"/>
          </a:xfrm>
          <a:prstGeom prst="ellipse">
            <a:avLst/>
          </a:prstGeom>
          <a:solidFill>
            <a:srgbClr val="ECD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F4D188-89F8-F8DF-8F4D-1C2F84AC580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0" t="18378" r="23925" b="8983"/>
          <a:stretch/>
        </p:blipFill>
        <p:spPr>
          <a:xfrm>
            <a:off x="782320" y="1137852"/>
            <a:ext cx="10627360" cy="5342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64598D7-B468-E0A4-40A8-E1908D821D5B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/>
              <a:t>DEMOGRAPHIC DIVIDEND PER REGION </a:t>
            </a:r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INDONESIA (2030)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E9CA02A-7634-9DD2-8A1D-70A058A0D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6889" y="6439523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4</a:t>
            </a:fld>
            <a:endParaRPr lang="id-ID" dirty="0">
              <a:solidFill>
                <a:schemeClr val="accent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4A58D0-01D9-65EB-6AE0-B7DB1FCA68DC}"/>
              </a:ext>
            </a:extLst>
          </p:cNvPr>
          <p:cNvSpPr txBox="1"/>
          <p:nvPr/>
        </p:nvSpPr>
        <p:spPr>
          <a:xfrm>
            <a:off x="914398" y="1084839"/>
            <a:ext cx="67056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mographic dividend per region using Y-C National 2012, 2030</a:t>
            </a:r>
          </a:p>
        </p:txBody>
      </p:sp>
    </p:spTree>
    <p:extLst>
      <p:ext uri="{BB962C8B-B14F-4D97-AF65-F5344CB8AC3E}">
        <p14:creationId xmlns:p14="http://schemas.microsoft.com/office/powerpoint/2010/main" val="25156958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14041E0-36E6-C0EF-FF0B-487F1C0537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5" t="18371" r="23913" b="6302"/>
          <a:stretch/>
        </p:blipFill>
        <p:spPr>
          <a:xfrm>
            <a:off x="782319" y="1137851"/>
            <a:ext cx="10627359" cy="55205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8519AAF-EF7A-E925-1E61-DCB109DA2AEC}"/>
              </a:ext>
            </a:extLst>
          </p:cNvPr>
          <p:cNvSpPr txBox="1"/>
          <p:nvPr/>
        </p:nvSpPr>
        <p:spPr>
          <a:xfrm>
            <a:off x="8205721" y="7946010"/>
            <a:ext cx="1632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595A18-8407-5344-E317-2711A2666B98}"/>
              </a:ext>
            </a:extLst>
          </p:cNvPr>
          <p:cNvSpPr/>
          <p:nvPr/>
        </p:nvSpPr>
        <p:spPr>
          <a:xfrm>
            <a:off x="4216870" y="7892015"/>
            <a:ext cx="93721" cy="93721"/>
          </a:xfrm>
          <a:prstGeom prst="ellipse">
            <a:avLst/>
          </a:prstGeom>
          <a:solidFill>
            <a:srgbClr val="ECD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05CF35-0526-11BD-5999-D285B186C5CE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/>
              <a:t>DEMOGRAPHIC DIVIDEND PER REGION </a:t>
            </a:r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INDONESIA (2045)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0E4BDB3-784E-73D9-B068-4D7E92B53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6889" y="6429583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5</a:t>
            </a:fld>
            <a:endParaRPr lang="id-ID" dirty="0">
              <a:solidFill>
                <a:schemeClr val="accent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AD06F8-932B-ABB5-2976-94B36688C532}"/>
              </a:ext>
            </a:extLst>
          </p:cNvPr>
          <p:cNvSpPr txBox="1"/>
          <p:nvPr/>
        </p:nvSpPr>
        <p:spPr>
          <a:xfrm>
            <a:off x="914398" y="1084839"/>
            <a:ext cx="67056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mographic dividend per region using Y-C National 2012, 204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F86C4-82CE-36D2-2539-04C1A1CD3D9D}"/>
              </a:ext>
            </a:extLst>
          </p:cNvPr>
          <p:cNvSpPr txBox="1"/>
          <p:nvPr/>
        </p:nvSpPr>
        <p:spPr>
          <a:xfrm>
            <a:off x="7024255" y="1788736"/>
            <a:ext cx="4807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USING Y-C National, first demographic dividend will be negative in all regions in 2045</a:t>
            </a:r>
          </a:p>
        </p:txBody>
      </p:sp>
    </p:spTree>
    <p:extLst>
      <p:ext uri="{BB962C8B-B14F-4D97-AF65-F5344CB8AC3E}">
        <p14:creationId xmlns:p14="http://schemas.microsoft.com/office/powerpoint/2010/main" val="7744655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947" y="236537"/>
            <a:ext cx="8393502" cy="790815"/>
          </a:xfr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b="1" dirty="0">
                <a:solidFill>
                  <a:schemeClr val="accent5"/>
                </a:solidFill>
                <a:cs typeface="Poppins" panose="00000500000000000000" pitchFamily="2" charset="0"/>
              </a:rPr>
              <a:t>Differences in Productivity Between Provinces 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cs typeface="Poppins" panose="00000500000000000000" pitchFamily="2" charset="0"/>
              </a:rPr>
              <a:t>as One of the Causes of Inequality, 2012</a:t>
            </a:r>
            <a:endParaRPr lang="id-ID" sz="2800" b="1" dirty="0">
              <a:solidFill>
                <a:schemeClr val="tx1">
                  <a:lumMod val="65000"/>
                  <a:lumOff val="35000"/>
                </a:schemeClr>
              </a:solidFill>
              <a:cs typeface="Poppins" panose="00000500000000000000" pitchFamily="2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EBAEE32-47A6-2D07-E916-6185674B5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1114" y="6076743"/>
            <a:ext cx="2653366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6</a:t>
            </a:fld>
            <a:endParaRPr lang="id-ID" dirty="0">
              <a:solidFill>
                <a:schemeClr val="accent5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7BDE3D9-A18D-66A4-D7B7-5B8CF0C4B3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552969"/>
              </p:ext>
            </p:extLst>
          </p:nvPr>
        </p:nvGraphicFramePr>
        <p:xfrm>
          <a:off x="89032" y="1528675"/>
          <a:ext cx="3930650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D5FB473-7E8F-454F-8FD4-6527FE06F3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508127"/>
              </p:ext>
            </p:extLst>
          </p:nvPr>
        </p:nvGraphicFramePr>
        <p:xfrm>
          <a:off x="89032" y="3963366"/>
          <a:ext cx="3930650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1C7451C-D3C7-4D4B-BF65-D5099D81FE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5276669"/>
              </p:ext>
            </p:extLst>
          </p:nvPr>
        </p:nvGraphicFramePr>
        <p:xfrm>
          <a:off x="4138737" y="1528675"/>
          <a:ext cx="3930650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138D30A-4299-C041-8583-FAD78297A0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2992744"/>
              </p:ext>
            </p:extLst>
          </p:nvPr>
        </p:nvGraphicFramePr>
        <p:xfrm>
          <a:off x="4138737" y="3963366"/>
          <a:ext cx="3930650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6B0983F-F217-754F-8D78-B73C9F8BEA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7761095"/>
              </p:ext>
            </p:extLst>
          </p:nvPr>
        </p:nvGraphicFramePr>
        <p:xfrm>
          <a:off x="8170850" y="1528675"/>
          <a:ext cx="3930650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05AF695-BF7C-8143-8BE3-BD383DD35E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8770981"/>
              </p:ext>
            </p:extLst>
          </p:nvPr>
        </p:nvGraphicFramePr>
        <p:xfrm>
          <a:off x="8170850" y="3963366"/>
          <a:ext cx="3941531" cy="2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511160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AB8228-9273-F3E5-D353-1CDF823457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44012" y="1825625"/>
            <a:ext cx="2743200" cy="4351338"/>
          </a:xfrm>
        </p:spPr>
        <p:txBody>
          <a:bodyPr>
            <a:normAutofit/>
          </a:bodyPr>
          <a:lstStyle/>
          <a:p>
            <a:r>
              <a:rPr lang="en-US" sz="2400" dirty="0"/>
              <a:t>First demographic dividend in Jakarta has already high;</a:t>
            </a:r>
          </a:p>
          <a:p>
            <a:r>
              <a:rPr lang="en-US" sz="2400" dirty="0"/>
              <a:t>1</a:t>
            </a:r>
            <a:r>
              <a:rPr lang="en-US" sz="2400" baseline="30000" dirty="0"/>
              <a:t>st</a:t>
            </a:r>
            <a:r>
              <a:rPr lang="en-US" sz="2400" dirty="0"/>
              <a:t> DD will end soon. </a:t>
            </a:r>
          </a:p>
          <a:p>
            <a:r>
              <a:rPr lang="en-US" sz="2400" dirty="0"/>
              <a:t>Can it be extended but gradually increase its productivity 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A0100B-18DD-E6AE-2E82-8FCE3BEEE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id" smtClean="0"/>
              <a:pPr/>
              <a:t>17</a:t>
            </a:fld>
            <a:endParaRPr lang="id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EE6FCF0-4A28-5C64-DA59-479132D00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8385495"/>
              </p:ext>
            </p:extLst>
          </p:nvPr>
        </p:nvGraphicFramePr>
        <p:xfrm>
          <a:off x="355455" y="1301750"/>
          <a:ext cx="8620126" cy="539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A2D72FC-8DE9-BBF8-F455-1DA7294C6D15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OK MORE CLOSELY TO PROVINCIAL LEVEL: WHAT IS POLICY IMPLICATION ? (1/2)</a:t>
            </a:r>
          </a:p>
        </p:txBody>
      </p:sp>
    </p:spTree>
    <p:extLst>
      <p:ext uri="{BB962C8B-B14F-4D97-AF65-F5344CB8AC3E}">
        <p14:creationId xmlns:p14="http://schemas.microsoft.com/office/powerpoint/2010/main" val="12263404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A0100B-18DD-E6AE-2E82-8FCE3BEEE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id" smtClean="0"/>
              <a:pPr/>
              <a:t>18</a:t>
            </a:fld>
            <a:endParaRPr lang="id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DCB562D-12F1-F24E-9747-D60AF17603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772080"/>
              </p:ext>
            </p:extLst>
          </p:nvPr>
        </p:nvGraphicFramePr>
        <p:xfrm>
          <a:off x="452437" y="1258094"/>
          <a:ext cx="8620126" cy="5199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26E74467-31C1-5CA6-1BA3-F54DA41B7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44012" y="1825625"/>
            <a:ext cx="2743200" cy="4351338"/>
          </a:xfrm>
        </p:spPr>
        <p:txBody>
          <a:bodyPr>
            <a:normAutofit fontScale="92500"/>
          </a:bodyPr>
          <a:lstStyle/>
          <a:p>
            <a:r>
              <a:rPr lang="en-US" sz="2400" dirty="0"/>
              <a:t>First demographic dividend in NTT is relatively low due to its low productivity;</a:t>
            </a:r>
          </a:p>
          <a:p>
            <a:r>
              <a:rPr lang="en-US" sz="2400" dirty="0"/>
              <a:t>Because its population is younger, and there is possibility to improve the productivity.</a:t>
            </a:r>
          </a:p>
          <a:p>
            <a:r>
              <a:rPr lang="en-US" sz="2400" dirty="0"/>
              <a:t>Consequently, the 1</a:t>
            </a:r>
            <a:r>
              <a:rPr lang="en-US" sz="2400" baseline="30000" dirty="0"/>
              <a:t>st</a:t>
            </a:r>
            <a:r>
              <a:rPr lang="en-US" sz="2400" dirty="0"/>
              <a:t> DD can be increas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D87460-BF23-D9BC-806F-CF4B0A803828}"/>
              </a:ext>
            </a:extLst>
          </p:cNvPr>
          <p:cNvSpPr txBox="1"/>
          <p:nvPr/>
        </p:nvSpPr>
        <p:spPr>
          <a:xfrm>
            <a:off x="1090575" y="90554"/>
            <a:ext cx="9115994" cy="87004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nn-NO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OK MORE CLOSELY TO PROVINCIAL LEVEL: WHAT IS POLICY IMPLICATION ? (2/2)</a:t>
            </a:r>
          </a:p>
        </p:txBody>
      </p:sp>
    </p:spTree>
    <p:extLst>
      <p:ext uri="{BB962C8B-B14F-4D97-AF65-F5344CB8AC3E}">
        <p14:creationId xmlns:p14="http://schemas.microsoft.com/office/powerpoint/2010/main" val="26600515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364" y="365125"/>
            <a:ext cx="8296209" cy="790815"/>
          </a:xfrm>
        </p:spPr>
        <p:txBody>
          <a:bodyPr>
            <a:normAutofit/>
          </a:bodyPr>
          <a:lstStyle/>
          <a:p>
            <a:r>
              <a:rPr lang="id-ID" sz="2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rPr>
              <a:t>QUES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d-ID" sz="2400" b="1" dirty="0">
                <a:cs typeface="Poppins" panose="00000500000000000000" pitchFamily="2" charset="0"/>
              </a:rPr>
              <a:t>Can </a:t>
            </a:r>
            <a:r>
              <a:rPr lang="id-ID" sz="2400" b="1" dirty="0" err="1">
                <a:cs typeface="Poppins" panose="00000500000000000000" pitchFamily="2" charset="0"/>
              </a:rPr>
              <a:t>demographic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dividend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b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on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of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th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key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to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tak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on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country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becoming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advanc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country</a:t>
            </a:r>
            <a:r>
              <a:rPr lang="id-ID" sz="2400" b="1" dirty="0">
                <a:cs typeface="Poppins" panose="00000500000000000000" pitchFamily="2" charset="0"/>
              </a:rPr>
              <a:t> ?</a:t>
            </a:r>
          </a:p>
          <a:p>
            <a:r>
              <a:rPr lang="id-ID" sz="2400" b="1" dirty="0" err="1">
                <a:cs typeface="Poppins" panose="00000500000000000000" pitchFamily="2" charset="0"/>
              </a:rPr>
              <a:t>What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should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w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do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with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the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disparity</a:t>
            </a:r>
            <a:r>
              <a:rPr lang="id-ID" sz="2400" b="1" dirty="0">
                <a:cs typeface="Poppins" panose="00000500000000000000" pitchFamily="2" charset="0"/>
              </a:rPr>
              <a:t>: TFR, human </a:t>
            </a:r>
            <a:r>
              <a:rPr lang="id-ID" sz="2400" b="1" dirty="0" err="1">
                <a:cs typeface="Poppins" panose="00000500000000000000" pitchFamily="2" charset="0"/>
              </a:rPr>
              <a:t>capital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investment</a:t>
            </a:r>
            <a:r>
              <a:rPr lang="id-ID" sz="2400" b="1" dirty="0">
                <a:cs typeface="Poppins" panose="00000500000000000000" pitchFamily="2" charset="0"/>
              </a:rPr>
              <a:t>, </a:t>
            </a:r>
            <a:r>
              <a:rPr lang="id-ID" sz="2400" b="1" dirty="0" err="1">
                <a:cs typeface="Poppins" panose="00000500000000000000" pitchFamily="2" charset="0"/>
              </a:rPr>
              <a:t>productivity</a:t>
            </a:r>
            <a:endParaRPr lang="id-ID" sz="2400" b="1" dirty="0"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57861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19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132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364" y="365125"/>
            <a:ext cx="8296209" cy="790815"/>
          </a:xfrm>
        </p:spPr>
        <p:txBody>
          <a:bodyPr>
            <a:normAutofit/>
          </a:bodyPr>
          <a:lstStyle/>
          <a:p>
            <a:r>
              <a:rPr lang="id-ID" sz="2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rPr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d-ID" sz="2400" b="1" dirty="0" err="1">
                <a:cs typeface="Poppins" panose="00000500000000000000" pitchFamily="2" charset="0"/>
              </a:rPr>
              <a:t>Economic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Contribution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among</a:t>
            </a:r>
            <a:r>
              <a:rPr lang="id-ID" sz="2400" b="1" dirty="0">
                <a:cs typeface="Poppins" panose="00000500000000000000" pitchFamily="2" charset="0"/>
              </a:rPr>
              <a:t> </a:t>
            </a:r>
            <a:r>
              <a:rPr lang="id-ID" sz="2400" b="1" dirty="0" err="1">
                <a:cs typeface="Poppins" panose="00000500000000000000" pitchFamily="2" charset="0"/>
              </a:rPr>
              <a:t>the</a:t>
            </a:r>
            <a:r>
              <a:rPr lang="id-ID" sz="2400" b="1" dirty="0">
                <a:cs typeface="Poppins" panose="00000500000000000000" pitchFamily="2" charset="0"/>
              </a:rPr>
              <a:t> Region</a:t>
            </a:r>
          </a:p>
          <a:p>
            <a:r>
              <a:rPr lang="id-ID" sz="2400" b="1" dirty="0">
                <a:cs typeface="Poppins" panose="00000500000000000000" pitchFamily="2" charset="0"/>
              </a:rPr>
              <a:t>Human Capital</a:t>
            </a:r>
            <a:r>
              <a:rPr lang="id-ID" sz="2400" dirty="0">
                <a:cs typeface="Poppins" panose="00000500000000000000" pitchFamily="2" charset="0"/>
              </a:rPr>
              <a:t> Investment</a:t>
            </a:r>
          </a:p>
          <a:p>
            <a:r>
              <a:rPr lang="id-ID" sz="2400" dirty="0" err="1">
                <a:cs typeface="Poppins" panose="00000500000000000000" pitchFamily="2" charset="0"/>
              </a:rPr>
              <a:t>Disparity</a:t>
            </a:r>
            <a:r>
              <a:rPr lang="id-ID" sz="2400" dirty="0">
                <a:cs typeface="Poppins" panose="00000500000000000000" pitchFamily="2" charset="0"/>
              </a:rPr>
              <a:t> in </a:t>
            </a:r>
            <a:r>
              <a:rPr lang="id-ID" sz="2400" b="1" dirty="0" err="1">
                <a:cs typeface="Poppins" panose="00000500000000000000" pitchFamily="2" charset="0"/>
              </a:rPr>
              <a:t>Dividend</a:t>
            </a:r>
            <a:endParaRPr lang="id-ID" sz="2400" b="1" dirty="0"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57861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2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049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d-ID" sz="4800" b="1" dirty="0">
                <a:latin typeface="Poppins" panose="00000500000000000000" pitchFamily="2" charset="0"/>
                <a:cs typeface="Poppins" panose="00000500000000000000" pitchFamily="2" charset="0"/>
              </a:rPr>
              <a:t>Thank you</a:t>
            </a:r>
          </a:p>
        </p:txBody>
      </p:sp>
      <p:sp>
        <p:nvSpPr>
          <p:cNvPr id="20" name="Oval 19"/>
          <p:cNvSpPr/>
          <p:nvPr/>
        </p:nvSpPr>
        <p:spPr>
          <a:xfrm>
            <a:off x="4538691" y="1702375"/>
            <a:ext cx="1544128" cy="15009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bg1"/>
              </a:solidFill>
              <a:latin typeface="Cambria" pitchFamily="18" charset="0"/>
            </a:endParaRPr>
          </a:p>
          <a:p>
            <a:pPr algn="ctr"/>
            <a:endParaRPr lang="id-ID" sz="1200" dirty="0">
              <a:solidFill>
                <a:schemeClr val="bg1"/>
              </a:solidFill>
              <a:latin typeface="Cambria" pitchFamily="18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313" y="1839017"/>
            <a:ext cx="351398" cy="382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Pie 22"/>
          <p:cNvSpPr/>
          <p:nvPr/>
        </p:nvSpPr>
        <p:spPr>
          <a:xfrm>
            <a:off x="4530065" y="1680038"/>
            <a:ext cx="1552754" cy="1586963"/>
          </a:xfrm>
          <a:prstGeom prst="pie">
            <a:avLst>
              <a:gd name="adj1" fmla="val 0"/>
              <a:gd name="adj2" fmla="val 10828849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6202393" y="1662786"/>
            <a:ext cx="1557494" cy="1654839"/>
            <a:chOff x="697673" y="2608655"/>
            <a:chExt cx="1990457" cy="2099790"/>
          </a:xfrm>
        </p:grpSpPr>
        <p:sp>
          <p:nvSpPr>
            <p:cNvPr id="25" name="Oval 24"/>
            <p:cNvSpPr/>
            <p:nvPr/>
          </p:nvSpPr>
          <p:spPr>
            <a:xfrm>
              <a:off x="697673" y="2675450"/>
              <a:ext cx="1990457" cy="203299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366" y="2608655"/>
              <a:ext cx="1729072" cy="1821842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4653909" y="2213351"/>
            <a:ext cx="12906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200" dirty="0">
                <a:latin typeface="Poppins" panose="00000500000000000000" pitchFamily="2" charset="0"/>
                <a:cs typeface="Poppins" panose="00000500000000000000" pitchFamily="2" charset="0"/>
              </a:rPr>
              <a:t>Medium Term Development Plan 2015-2019</a:t>
            </a:r>
          </a:p>
          <a:p>
            <a:pPr algn="ctr"/>
            <a:r>
              <a:rPr lang="id-ID" sz="1200" dirty="0">
                <a:latin typeface="Poppins" panose="00000500000000000000" pitchFamily="2" charset="0"/>
                <a:cs typeface="Poppins" panose="00000500000000000000" pitchFamily="2" charset="0"/>
              </a:rPr>
              <a:t>(RPJMN)</a:t>
            </a:r>
          </a:p>
          <a:p>
            <a:pPr algn="ctr"/>
            <a:endParaRPr lang="id-ID" sz="12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6749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346435"/>
              </p:ext>
            </p:extLst>
          </p:nvPr>
        </p:nvGraphicFramePr>
        <p:xfrm>
          <a:off x="335360" y="1340767"/>
          <a:ext cx="8064896" cy="5198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ontent Placeholder 2"/>
          <p:cNvSpPr txBox="1">
            <a:spLocks/>
          </p:cNvSpPr>
          <p:nvPr/>
        </p:nvSpPr>
        <p:spPr>
          <a:xfrm>
            <a:off x="8398471" y="2685520"/>
            <a:ext cx="3458169" cy="2244289"/>
          </a:xfrm>
          <a:prstGeom prst="roundRect">
            <a:avLst>
              <a:gd name="adj" fmla="val 7591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spcBef>
                <a:spcPts val="600"/>
              </a:spcBef>
              <a:spcAft>
                <a:spcPts val="600"/>
              </a:spcAft>
              <a:buClr>
                <a:schemeClr val="accent4">
                  <a:lumMod val="50000"/>
                </a:schemeClr>
              </a:buClr>
              <a:buSzPct val="130000"/>
            </a:pP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The </a:t>
            </a:r>
            <a:r>
              <a:rPr lang="en-US" sz="1800" b="1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number of children per woman of childbearing age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 continues to </a:t>
            </a:r>
            <a:r>
              <a:rPr lang="en-US" sz="1800" b="1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decline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.</a:t>
            </a:r>
          </a:p>
          <a:p>
            <a:pPr marL="180975" indent="-180975">
              <a:spcBef>
                <a:spcPts val="600"/>
              </a:spcBef>
              <a:spcAft>
                <a:spcPts val="600"/>
              </a:spcAft>
              <a:buClr>
                <a:schemeClr val="accent4">
                  <a:lumMod val="50000"/>
                </a:schemeClr>
              </a:buClr>
              <a:buSzPct val="130000"/>
            </a:pPr>
            <a:r>
              <a:rPr lang="en-US" sz="1800" b="1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Opportunity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 </a:t>
            </a:r>
            <a:r>
              <a:rPr lang="en-US" sz="1800" b="1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to improve 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the quality of </a:t>
            </a:r>
            <a:r>
              <a:rPr lang="en-US" sz="1800" b="1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human resources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  <a:sym typeface="Wingdings" pitchFamily="2" charset="2"/>
              </a:rPr>
              <a:t>.</a:t>
            </a:r>
            <a:endParaRPr lang="id-ID" sz="1800" dirty="0">
              <a:latin typeface="Poppins" panose="00000500000000000000" pitchFamily="2" charset="0"/>
              <a:cs typeface="Poppins" panose="00000500000000000000" pitchFamily="2" charset="0"/>
              <a:sym typeface="Wingdings" pitchFamily="2" charset="2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C8E6EF-9831-4AF2-E62D-83AF261C15B1}"/>
              </a:ext>
            </a:extLst>
          </p:cNvPr>
          <p:cNvSpPr txBox="1"/>
          <p:nvPr/>
        </p:nvSpPr>
        <p:spPr>
          <a:xfrm>
            <a:off x="456272" y="467416"/>
            <a:ext cx="9820788" cy="410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US" sz="2600" b="1" dirty="0">
                <a:solidFill>
                  <a:schemeClr val="accent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MILY DEVELOPMENT</a:t>
            </a:r>
            <a:r>
              <a:rPr lang="en-US" sz="2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ENTERING A NEW ERA</a:t>
            </a:r>
            <a:endParaRPr lang="id-ID" sz="2600" b="1" dirty="0">
              <a:solidFill>
                <a:schemeClr val="tx1">
                  <a:lumMod val="65000"/>
                  <a:lumOff val="3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3F3F1DB-E141-8380-C5D7-C98E78C6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7861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21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4556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1699D7F-367E-CA4B-7BAA-F065C2D3C6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1258724"/>
              </p:ext>
            </p:extLst>
          </p:nvPr>
        </p:nvGraphicFramePr>
        <p:xfrm>
          <a:off x="411200" y="1366697"/>
          <a:ext cx="9181374" cy="5234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530676-474C-92C5-B9B2-0410A106F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865D52-6D1B-73BA-7B2F-125B4A527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22</a:t>
            </a:fld>
            <a:endParaRPr lang="id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BFBCFD-0F81-D695-F445-FDD77615FE87}"/>
              </a:ext>
            </a:extLst>
          </p:cNvPr>
          <p:cNvSpPr/>
          <p:nvPr/>
        </p:nvSpPr>
        <p:spPr>
          <a:xfrm>
            <a:off x="7829550" y="3426267"/>
            <a:ext cx="1028701" cy="659757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16D369D-0E76-DC21-19A2-7FBC098A87F1}"/>
              </a:ext>
            </a:extLst>
          </p:cNvPr>
          <p:cNvSpPr/>
          <p:nvPr/>
        </p:nvSpPr>
        <p:spPr>
          <a:xfrm>
            <a:off x="5916231" y="3540768"/>
            <a:ext cx="949124" cy="659757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986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30676-474C-92C5-B9B2-0410A106F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865D52-6D1B-73BA-7B2F-125B4A527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0F239-33F8-4DDE-9A1B-199248B2156C}" type="slidenum">
              <a:rPr lang="id-ID" smtClean="0"/>
              <a:t>23</a:t>
            </a:fld>
            <a:endParaRPr lang="id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BFBCFD-0F81-D695-F445-FDD77615FE87}"/>
              </a:ext>
            </a:extLst>
          </p:cNvPr>
          <p:cNvSpPr/>
          <p:nvPr/>
        </p:nvSpPr>
        <p:spPr>
          <a:xfrm>
            <a:off x="5918522" y="4190035"/>
            <a:ext cx="949124" cy="960699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16D369D-0E76-DC21-19A2-7FBC098A87F1}"/>
              </a:ext>
            </a:extLst>
          </p:cNvPr>
          <p:cNvSpPr/>
          <p:nvPr/>
        </p:nvSpPr>
        <p:spPr>
          <a:xfrm>
            <a:off x="7986531" y="3445979"/>
            <a:ext cx="661323" cy="1403813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031AB87-2A07-4041-B86A-754670789C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480104"/>
              </p:ext>
            </p:extLst>
          </p:nvPr>
        </p:nvGraphicFramePr>
        <p:xfrm>
          <a:off x="438150" y="1362376"/>
          <a:ext cx="9154424" cy="4993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831475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3A31D34-CA45-204C-A44F-6307749DA844}"/>
              </a:ext>
            </a:extLst>
          </p:cNvPr>
          <p:cNvSpPr txBox="1">
            <a:spLocks/>
          </p:cNvSpPr>
          <p:nvPr/>
        </p:nvSpPr>
        <p:spPr>
          <a:xfrm>
            <a:off x="1230125" y="132034"/>
            <a:ext cx="8909685" cy="7540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ova"/>
              <a:cs typeface="Helvetic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C02075-3FF0-3A43-9E76-9FFB35343933}"/>
              </a:ext>
            </a:extLst>
          </p:cNvPr>
          <p:cNvSpPr txBox="1"/>
          <p:nvPr/>
        </p:nvSpPr>
        <p:spPr>
          <a:xfrm>
            <a:off x="312518" y="6388760"/>
            <a:ext cx="4839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>
                <a:latin typeface="Arial Nova" panose="020B0504020202020204" pitchFamily="34" charset="0"/>
              </a:rPr>
              <a:t>Sumber</a:t>
            </a:r>
            <a:r>
              <a:rPr lang="en-US" sz="1200" dirty="0">
                <a:latin typeface="Arial Nova" panose="020B0504020202020204" pitchFamily="34" charset="0"/>
              </a:rPr>
              <a:t>: World Bank (2022), </a:t>
            </a:r>
            <a:r>
              <a:rPr lang="en-US" sz="1200" dirty="0" err="1">
                <a:latin typeface="Arial Nova" panose="020B0504020202020204" pitchFamily="34" charset="0"/>
              </a:rPr>
              <a:t>Proyeksi</a:t>
            </a:r>
            <a:r>
              <a:rPr lang="en-US" sz="1200" dirty="0">
                <a:latin typeface="Arial Nova" panose="020B0504020202020204" pitchFamily="34" charset="0"/>
              </a:rPr>
              <a:t> </a:t>
            </a:r>
            <a:r>
              <a:rPr lang="en-US" sz="1200" dirty="0" err="1">
                <a:latin typeface="Arial Nova" panose="020B0504020202020204" pitchFamily="34" charset="0"/>
              </a:rPr>
              <a:t>Bappenas</a:t>
            </a:r>
            <a:r>
              <a:rPr lang="en-US" sz="1200" dirty="0">
                <a:latin typeface="Arial Nova" panose="020B0504020202020204" pitchFamily="34" charset="0"/>
              </a:rPr>
              <a:t> per </a:t>
            </a:r>
            <a:r>
              <a:rPr lang="en-US" sz="1200" dirty="0" err="1">
                <a:latin typeface="Arial Nova" panose="020B0504020202020204" pitchFamily="34" charset="0"/>
              </a:rPr>
              <a:t>Desember</a:t>
            </a:r>
            <a:r>
              <a:rPr lang="en-US" sz="1200" dirty="0">
                <a:latin typeface="Arial Nova" panose="020B0504020202020204" pitchFamily="34" charset="0"/>
              </a:rPr>
              <a:t> 2022</a:t>
            </a:r>
            <a:endParaRPr lang="en-ID" sz="1200" dirty="0">
              <a:latin typeface="Arial Nova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9F8D5D-D7F7-B04A-82FE-AD0D654E9300}"/>
              </a:ext>
            </a:extLst>
          </p:cNvPr>
          <p:cNvSpPr txBox="1"/>
          <p:nvPr/>
        </p:nvSpPr>
        <p:spPr>
          <a:xfrm>
            <a:off x="7669024" y="6399446"/>
            <a:ext cx="421045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>
                <a:latin typeface="Arial Nova" panose="020B0504020202020204" pitchFamily="34" charset="0"/>
              </a:rPr>
              <a:t>*</a:t>
            </a:r>
            <a:r>
              <a:rPr lang="en-US" sz="1050" err="1">
                <a:latin typeface="Arial Nova" panose="020B0504020202020204" pitchFamily="34" charset="0"/>
              </a:rPr>
              <a:t>Proyeksi</a:t>
            </a:r>
            <a:r>
              <a:rPr lang="en-US" sz="1050">
                <a:latin typeface="Arial Nova" panose="020B0504020202020204" pitchFamily="34" charset="0"/>
              </a:rPr>
              <a:t> </a:t>
            </a:r>
            <a:r>
              <a:rPr lang="en-US" sz="1050" i="1">
                <a:latin typeface="Arial Nova" panose="020B0504020202020204" pitchFamily="34" charset="0"/>
              </a:rPr>
              <a:t>Threshold High Income </a:t>
            </a:r>
            <a:r>
              <a:rPr lang="en-US" sz="1050" err="1">
                <a:latin typeface="Arial Nova" panose="020B0504020202020204" pitchFamily="34" charset="0"/>
              </a:rPr>
              <a:t>dihitung</a:t>
            </a:r>
            <a:r>
              <a:rPr lang="en-US" sz="1050">
                <a:latin typeface="Arial Nova" panose="020B0504020202020204" pitchFamily="34" charset="0"/>
              </a:rPr>
              <a:t> </a:t>
            </a:r>
            <a:r>
              <a:rPr lang="en-US" sz="1050" err="1">
                <a:latin typeface="Arial Nova" panose="020B0504020202020204" pitchFamily="34" charset="0"/>
              </a:rPr>
              <a:t>dari</a:t>
            </a:r>
            <a:r>
              <a:rPr lang="en-US" sz="1050">
                <a:latin typeface="Arial Nova" panose="020B0504020202020204" pitchFamily="34" charset="0"/>
              </a:rPr>
              <a:t> trend </a:t>
            </a:r>
            <a:r>
              <a:rPr lang="en-US" sz="1050" err="1">
                <a:latin typeface="Arial Nova" panose="020B0504020202020204" pitchFamily="34" charset="0"/>
              </a:rPr>
              <a:t>inflasi</a:t>
            </a:r>
            <a:r>
              <a:rPr lang="en-US" sz="1050">
                <a:latin typeface="Arial Nova" panose="020B0504020202020204" pitchFamily="34" charset="0"/>
              </a:rPr>
              <a:t> SD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D3510B-550A-6047-9D83-4D04B81CF40D}"/>
              </a:ext>
            </a:extLst>
          </p:cNvPr>
          <p:cNvSpPr/>
          <p:nvPr/>
        </p:nvSpPr>
        <p:spPr>
          <a:xfrm>
            <a:off x="8383852" y="1752870"/>
            <a:ext cx="2970176" cy="44407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C7D389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5656187-B5DF-924B-9759-FDEA96D740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1210369"/>
              </p:ext>
            </p:extLst>
          </p:nvPr>
        </p:nvGraphicFramePr>
        <p:xfrm>
          <a:off x="312518" y="1832477"/>
          <a:ext cx="11655705" cy="4361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4D31CC0-DFB3-BA49-8CDD-CD2C965DEE8A}"/>
              </a:ext>
            </a:extLst>
          </p:cNvPr>
          <p:cNvSpPr txBox="1"/>
          <p:nvPr/>
        </p:nvSpPr>
        <p:spPr>
          <a:xfrm>
            <a:off x="8949432" y="2039143"/>
            <a:ext cx="1839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rial Nova" panose="020B0504020202020204" pitchFamily="34" charset="0"/>
              </a:rPr>
              <a:t>22 YEA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7983BB-953C-2540-B515-B7A488E82AFA}"/>
              </a:ext>
            </a:extLst>
          </p:cNvPr>
          <p:cNvSpPr txBox="1"/>
          <p:nvPr/>
        </p:nvSpPr>
        <p:spPr>
          <a:xfrm>
            <a:off x="11228454" y="3758793"/>
            <a:ext cx="96354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 err="1">
                <a:latin typeface="Arial Nova" panose="020B0504020202020204" pitchFamily="34" charset="0"/>
              </a:rPr>
              <a:t>Proyeksi</a:t>
            </a:r>
            <a:r>
              <a:rPr lang="en-US" sz="700" b="1" dirty="0">
                <a:latin typeface="Arial Nova" panose="020B0504020202020204" pitchFamily="34" charset="0"/>
              </a:rPr>
              <a:t> </a:t>
            </a:r>
            <a:r>
              <a:rPr lang="en-US" sz="700" b="1" i="1" dirty="0">
                <a:latin typeface="Arial Nova" panose="020B0504020202020204" pitchFamily="34" charset="0"/>
              </a:rPr>
              <a:t>Threshold High Income</a:t>
            </a:r>
            <a:r>
              <a:rPr lang="en-US" sz="700" b="1" dirty="0">
                <a:latin typeface="Arial Nova" panose="020B0504020202020204" pitchFamily="34" charset="0"/>
              </a:rPr>
              <a:t>*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0DCBC6-D41B-B548-8C90-2E7DC60F22B9}"/>
              </a:ext>
            </a:extLst>
          </p:cNvPr>
          <p:cNvSpPr/>
          <p:nvPr/>
        </p:nvSpPr>
        <p:spPr>
          <a:xfrm>
            <a:off x="11359124" y="2846485"/>
            <a:ext cx="604004" cy="324037"/>
          </a:xfrm>
          <a:prstGeom prst="rect">
            <a:avLst/>
          </a:prstGeom>
          <a:solidFill>
            <a:srgbClr val="E1A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7 %</a:t>
            </a:r>
            <a:endParaRPr lang="en-ID" sz="1400" b="1">
              <a:latin typeface="Arial Nova" panose="020B05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8513B2-95D2-5E46-A518-A2D7232F98C4}"/>
              </a:ext>
            </a:extLst>
          </p:cNvPr>
          <p:cNvSpPr/>
          <p:nvPr/>
        </p:nvSpPr>
        <p:spPr>
          <a:xfrm>
            <a:off x="11355082" y="3396829"/>
            <a:ext cx="604005" cy="3240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6 %</a:t>
            </a:r>
            <a:endParaRPr lang="en-ID" sz="1400" b="1">
              <a:latin typeface="Arial Nova" panose="020B05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48E92C-A358-8F41-9D27-DA97145938F9}"/>
              </a:ext>
            </a:extLst>
          </p:cNvPr>
          <p:cNvSpPr/>
          <p:nvPr/>
        </p:nvSpPr>
        <p:spPr>
          <a:xfrm>
            <a:off x="11359123" y="4123169"/>
            <a:ext cx="604005" cy="324037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  <a:latin typeface="Arial Nova" panose="020B0504020202020204" pitchFamily="34" charset="0"/>
              </a:rPr>
              <a:t>5 %</a:t>
            </a:r>
            <a:endParaRPr lang="en-ID" sz="1400" b="1">
              <a:solidFill>
                <a:schemeClr val="tx1"/>
              </a:solidFill>
              <a:latin typeface="Arial Nova" panose="020B05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C410C48-10F3-8744-A20F-D2C601180E19}"/>
              </a:ext>
            </a:extLst>
          </p:cNvPr>
          <p:cNvCxnSpPr>
            <a:cxnSpLocks/>
          </p:cNvCxnSpPr>
          <p:nvPr/>
        </p:nvCxnSpPr>
        <p:spPr>
          <a:xfrm>
            <a:off x="10701048" y="2992344"/>
            <a:ext cx="0" cy="1153691"/>
          </a:xfrm>
          <a:prstGeom prst="line">
            <a:avLst/>
          </a:prstGeom>
          <a:ln w="285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B424D7E-FEE1-A34F-8F7C-93FA0A97EFBD}"/>
              </a:ext>
            </a:extLst>
          </p:cNvPr>
          <p:cNvSpPr txBox="1"/>
          <p:nvPr/>
        </p:nvSpPr>
        <p:spPr>
          <a:xfrm>
            <a:off x="2033878" y="4970395"/>
            <a:ext cx="20808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>
                <a:solidFill>
                  <a:srgbClr val="C00000"/>
                </a:solidFill>
                <a:latin typeface="Arial Nova" panose="020B0504020202020204" pitchFamily="34" charset="0"/>
              </a:rPr>
              <a:t>Threshold Upper-Middle Incom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297419-9D8C-4C4A-BD04-4F101419CB69}"/>
              </a:ext>
            </a:extLst>
          </p:cNvPr>
          <p:cNvSpPr txBox="1"/>
          <p:nvPr/>
        </p:nvSpPr>
        <p:spPr>
          <a:xfrm>
            <a:off x="6879401" y="5098330"/>
            <a:ext cx="20808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>
                <a:solidFill>
                  <a:srgbClr val="70AD47"/>
                </a:solidFill>
                <a:latin typeface="Arial Nova" panose="020B0504020202020204" pitchFamily="34" charset="0"/>
              </a:rPr>
              <a:t>Threshold Low Inco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0176D1E-4568-BF4B-94C0-0DDB5AD149FB}"/>
              </a:ext>
            </a:extLst>
          </p:cNvPr>
          <p:cNvSpPr txBox="1"/>
          <p:nvPr/>
        </p:nvSpPr>
        <p:spPr>
          <a:xfrm>
            <a:off x="3480766" y="2720704"/>
            <a:ext cx="1845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 Nova" panose="020B0504020202020204" pitchFamily="34" charset="0"/>
              </a:rPr>
              <a:t>1993:</a:t>
            </a:r>
            <a:br>
              <a:rPr lang="en-US" sz="1000" dirty="0">
                <a:latin typeface="Arial Nova" panose="020B0504020202020204" pitchFamily="34" charset="0"/>
              </a:rPr>
            </a:br>
            <a:r>
              <a:rPr lang="en-US" sz="1000" dirty="0">
                <a:latin typeface="Arial Nova" panose="020B0504020202020204" pitchFamily="34" charset="0"/>
              </a:rPr>
              <a:t>Indonesia graduated from </a:t>
            </a:r>
            <a:r>
              <a:rPr lang="en-US" sz="1000" i="1" dirty="0">
                <a:latin typeface="Arial Nova" panose="020B0504020202020204" pitchFamily="34" charset="0"/>
              </a:rPr>
              <a:t>Low Income Country</a:t>
            </a:r>
            <a:endParaRPr lang="en-ID" sz="1000" i="1" dirty="0">
              <a:latin typeface="Arial Nova" panose="020B05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288B6DB-80B4-D24C-89D6-71FFAD7848EC}"/>
              </a:ext>
            </a:extLst>
          </p:cNvPr>
          <p:cNvSpPr txBox="1"/>
          <p:nvPr/>
        </p:nvSpPr>
        <p:spPr>
          <a:xfrm>
            <a:off x="4543391" y="3547670"/>
            <a:ext cx="16368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 Nova" panose="020B0504020202020204" pitchFamily="34" charset="0"/>
              </a:rPr>
              <a:t>1998-2002:</a:t>
            </a:r>
            <a:br>
              <a:rPr lang="en-US" sz="1000" dirty="0">
                <a:latin typeface="Arial Nova" panose="020B0504020202020204" pitchFamily="34" charset="0"/>
              </a:rPr>
            </a:br>
            <a:r>
              <a:rPr lang="en-US" sz="1000" dirty="0">
                <a:latin typeface="Arial Nova" panose="020B0504020202020204" pitchFamily="34" charset="0"/>
              </a:rPr>
              <a:t>Indonesia back to </a:t>
            </a:r>
            <a:r>
              <a:rPr lang="en-US" sz="1000" i="1" dirty="0">
                <a:latin typeface="Arial Nova" panose="020B0504020202020204" pitchFamily="34" charset="0"/>
              </a:rPr>
              <a:t>Low Income Country</a:t>
            </a:r>
            <a:r>
              <a:rPr lang="en-US" sz="1000" dirty="0">
                <a:latin typeface="Arial Nova" panose="020B0504020202020204" pitchFamily="34" charset="0"/>
              </a:rPr>
              <a:t> due to crisis</a:t>
            </a:r>
            <a:endParaRPr lang="en-ID" sz="1000" dirty="0">
              <a:latin typeface="Arial Nova" panose="020B05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425CF3-4C1D-CB40-9386-61D10D9CB9B2}"/>
              </a:ext>
            </a:extLst>
          </p:cNvPr>
          <p:cNvSpPr txBox="1"/>
          <p:nvPr/>
        </p:nvSpPr>
        <p:spPr>
          <a:xfrm>
            <a:off x="7023542" y="2614570"/>
            <a:ext cx="16792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 Nova" panose="020B0504020202020204" pitchFamily="34" charset="0"/>
              </a:rPr>
              <a:t>2019:</a:t>
            </a:r>
            <a:br>
              <a:rPr lang="en-US" sz="1000" dirty="0">
                <a:latin typeface="Arial Nova" panose="020B0504020202020204" pitchFamily="34" charset="0"/>
              </a:rPr>
            </a:br>
            <a:r>
              <a:rPr lang="en-US" sz="1000" dirty="0">
                <a:latin typeface="Arial Nova" panose="020B0504020202020204" pitchFamily="34" charset="0"/>
              </a:rPr>
              <a:t>Indonesia became </a:t>
            </a:r>
            <a:r>
              <a:rPr lang="en-US" sz="1000" i="1" dirty="0">
                <a:latin typeface="Arial Nova" panose="020B0504020202020204" pitchFamily="34" charset="0"/>
              </a:rPr>
              <a:t>Upper-Middle Income Country</a:t>
            </a:r>
            <a:endParaRPr lang="en-ID" sz="1000" i="1" dirty="0">
              <a:latin typeface="Arial Nova" panose="020B05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BA3B221-395D-B543-A8B3-02CB8BC46FE6}"/>
              </a:ext>
            </a:extLst>
          </p:cNvPr>
          <p:cNvSpPr txBox="1"/>
          <p:nvPr/>
        </p:nvSpPr>
        <p:spPr>
          <a:xfrm>
            <a:off x="7797782" y="3363757"/>
            <a:ext cx="19223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 Nova" panose="020B0504020202020204" pitchFamily="34" charset="0"/>
              </a:rPr>
              <a:t>2020-2021:</a:t>
            </a:r>
            <a:br>
              <a:rPr lang="en-US" sz="1000" dirty="0">
                <a:latin typeface="Arial Nova" panose="020B0504020202020204" pitchFamily="34" charset="0"/>
              </a:rPr>
            </a:br>
            <a:r>
              <a:rPr lang="en-US" sz="1000" dirty="0">
                <a:latin typeface="Arial Nova" panose="020B0504020202020204" pitchFamily="34" charset="0"/>
              </a:rPr>
              <a:t>Indonesia back to </a:t>
            </a:r>
            <a:r>
              <a:rPr lang="en-US" sz="1000" i="1" dirty="0">
                <a:latin typeface="Arial Nova" panose="020B0504020202020204" pitchFamily="34" charset="0"/>
              </a:rPr>
              <a:t>Lower-Middle Income Country due to pandemic</a:t>
            </a:r>
            <a:endParaRPr lang="en-ID" sz="1000" dirty="0">
              <a:latin typeface="Arial Nova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70D30E-3919-B84F-AD73-68D897E641D7}"/>
              </a:ext>
            </a:extLst>
          </p:cNvPr>
          <p:cNvSpPr txBox="1"/>
          <p:nvPr/>
        </p:nvSpPr>
        <p:spPr>
          <a:xfrm>
            <a:off x="1238221" y="847068"/>
            <a:ext cx="926295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223F57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sz="1400" b="1" dirty="0">
                <a:solidFill>
                  <a:srgbClr val="223F5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donesia has been trapped as middle income country in 30 years.</a:t>
            </a:r>
          </a:p>
          <a:p>
            <a:r>
              <a:rPr lang="en-US" sz="1400" b="1" dirty="0">
                <a:solidFill>
                  <a:srgbClr val="223F5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wenty years planning to aim Indonesia becomes high income country in 2045.</a:t>
            </a:r>
          </a:p>
          <a:p>
            <a:r>
              <a:rPr lang="en-US" sz="1400" b="1" dirty="0">
                <a:solidFill>
                  <a:srgbClr val="223F5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an Demographic dividend become key for Indonesia to escape from middle income countries?</a:t>
            </a:r>
          </a:p>
          <a:p>
            <a:endParaRPr lang="en-ID" sz="1400" b="1" dirty="0">
              <a:solidFill>
                <a:srgbClr val="223F57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en-US" sz="1200" dirty="0">
              <a:solidFill>
                <a:srgbClr val="223F57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2E18F15-0D16-1C48-86A8-2EBFD1D93EB0}"/>
              </a:ext>
            </a:extLst>
          </p:cNvPr>
          <p:cNvGrpSpPr/>
          <p:nvPr/>
        </p:nvGrpSpPr>
        <p:grpSpPr>
          <a:xfrm>
            <a:off x="9720150" y="6210761"/>
            <a:ext cx="2385527" cy="515205"/>
            <a:chOff x="9062010" y="5995816"/>
            <a:chExt cx="2913322" cy="615003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D90BE9E-EEB3-5840-9988-D52E189347BB}"/>
                </a:ext>
              </a:extLst>
            </p:cNvPr>
            <p:cNvSpPr/>
            <p:nvPr/>
          </p:nvSpPr>
          <p:spPr>
            <a:xfrm>
              <a:off x="11333116" y="5995816"/>
              <a:ext cx="642216" cy="61500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Slide Number Placeholder 85">
              <a:extLst>
                <a:ext uri="{FF2B5EF4-FFF2-40B4-BE49-F238E27FC236}">
                  <a16:creationId xmlns:a16="http://schemas.microsoft.com/office/drawing/2014/main" id="{80DA01B0-6632-1548-9742-D1759231E2ED}"/>
                </a:ext>
              </a:extLst>
            </p:cNvPr>
            <p:cNvSpPr txBox="1">
              <a:spLocks/>
            </p:cNvSpPr>
            <p:nvPr/>
          </p:nvSpPr>
          <p:spPr>
            <a:xfrm>
              <a:off x="9062010" y="6085808"/>
              <a:ext cx="2743200" cy="365125"/>
            </a:xfrm>
            <a:prstGeom prst="rect">
              <a:avLst/>
            </a:prstGeom>
          </p:spPr>
          <p:txBody>
            <a:bodyPr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fld id="{15953B87-3A8D-41CA-BA85-DD815D1560A8}" type="slidenum">
                <a:rPr lang="en-ID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pPr algn="r"/>
                <a:t>3</a:t>
              </a:fld>
              <a:endParaRPr lang="en-ID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2A8604E-1657-7E49-9FAE-128C5D7F7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221" y="278886"/>
            <a:ext cx="8393502" cy="790815"/>
          </a:xfrm>
        </p:spPr>
        <p:txBody>
          <a:bodyPr>
            <a:normAutofit/>
          </a:bodyPr>
          <a:lstStyle/>
          <a:p>
            <a:r>
              <a:rPr lang="en-US" sz="3600" b="1" dirty="0"/>
              <a:t>Motivation</a:t>
            </a:r>
          </a:p>
        </p:txBody>
      </p:sp>
    </p:spTree>
    <p:extLst>
      <p:ext uri="{BB962C8B-B14F-4D97-AF65-F5344CB8AC3E}">
        <p14:creationId xmlns:p14="http://schemas.microsoft.com/office/powerpoint/2010/main" val="3243553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maliki\Documents\icon\Kemiskinan Indonesia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16" b="2323"/>
          <a:stretch/>
        </p:blipFill>
        <p:spPr bwMode="auto">
          <a:xfrm>
            <a:off x="719403" y="1017386"/>
            <a:ext cx="10369152" cy="5604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8717" y="226571"/>
            <a:ext cx="10559336" cy="790815"/>
          </a:xfrm>
          <a:noFill/>
        </p:spPr>
        <p:txBody>
          <a:bodyPr>
            <a:noAutofit/>
          </a:bodyPr>
          <a:lstStyle/>
          <a:p>
            <a:r>
              <a:rPr lang="id-ID" sz="2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Poppins" panose="00000500000000000000" pitchFamily="50" charset="0"/>
              </a:rPr>
              <a:t>CHALLENGES: ECONOMIC</a:t>
            </a:r>
            <a:r>
              <a:rPr lang="id-ID" sz="2500" b="1" dirty="0">
                <a:latin typeface="+mn-lt"/>
              </a:rPr>
              <a:t> </a:t>
            </a:r>
            <a:r>
              <a:rPr lang="id-ID" sz="2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Poppins" panose="00000500000000000000" pitchFamily="50" charset="0"/>
              </a:rPr>
              <a:t>CONTRIBUTION OF </a:t>
            </a:r>
            <a:r>
              <a:rPr lang="id-ID" sz="2500" b="1" dirty="0">
                <a:solidFill>
                  <a:schemeClr val="accent5"/>
                </a:solidFill>
                <a:latin typeface="+mn-lt"/>
                <a:ea typeface="+mn-ea"/>
                <a:cs typeface="Poppins" panose="00000500000000000000" pitchFamily="50" charset="0"/>
              </a:rPr>
              <a:t>THE EASTERN INDONESIA </a:t>
            </a:r>
            <a:br>
              <a:rPr lang="en-US" sz="2500" b="1" dirty="0">
                <a:solidFill>
                  <a:schemeClr val="accent5"/>
                </a:solidFill>
                <a:latin typeface="+mn-lt"/>
                <a:ea typeface="+mn-ea"/>
                <a:cs typeface="Poppins" panose="00000500000000000000" pitchFamily="50" charset="0"/>
              </a:rPr>
            </a:br>
            <a:r>
              <a:rPr lang="id-ID" sz="2500" b="1" dirty="0">
                <a:solidFill>
                  <a:schemeClr val="accent5"/>
                </a:solidFill>
                <a:latin typeface="+mn-lt"/>
                <a:ea typeface="+mn-ea"/>
                <a:cs typeface="Poppins" panose="00000500000000000000" pitchFamily="50" charset="0"/>
              </a:rPr>
              <a:t>HAS BEEN STAGNANT</a:t>
            </a:r>
          </a:p>
        </p:txBody>
      </p:sp>
      <p:sp>
        <p:nvSpPr>
          <p:cNvPr id="10" name="Oval 9"/>
          <p:cNvSpPr/>
          <p:nvPr/>
        </p:nvSpPr>
        <p:spPr>
          <a:xfrm>
            <a:off x="2871991" y="3941857"/>
            <a:ext cx="2351909" cy="2364040"/>
          </a:xfrm>
          <a:prstGeom prst="ellipse">
            <a:avLst/>
          </a:prstGeom>
          <a:solidFill>
            <a:schemeClr val="accent1">
              <a:lumMod val="60000"/>
              <a:lumOff val="4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id-ID" b="1" i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8% </a:t>
            </a:r>
          </a:p>
          <a:p>
            <a:pPr algn="ctr"/>
            <a:r>
              <a:rPr lang="en-US" b="1" i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f</a:t>
            </a:r>
            <a:r>
              <a:rPr lang="id-ID" b="1" i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GDP</a:t>
            </a:r>
          </a:p>
        </p:txBody>
      </p:sp>
      <p:sp>
        <p:nvSpPr>
          <p:cNvPr id="13" name="Oval 12"/>
          <p:cNvSpPr/>
          <p:nvPr/>
        </p:nvSpPr>
        <p:spPr>
          <a:xfrm>
            <a:off x="7699464" y="4905755"/>
            <a:ext cx="948931" cy="96010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id-ID" sz="1900" i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% </a:t>
            </a:r>
          </a:p>
        </p:txBody>
      </p:sp>
      <p:sp>
        <p:nvSpPr>
          <p:cNvPr id="12" name="Oval 11"/>
          <p:cNvSpPr/>
          <p:nvPr/>
        </p:nvSpPr>
        <p:spPr>
          <a:xfrm>
            <a:off x="9324471" y="1709995"/>
            <a:ext cx="864096" cy="768085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id-ID" sz="1900" b="1" i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%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FEC061-9C03-5157-BAE2-77FAA8A9A707}"/>
              </a:ext>
            </a:extLst>
          </p:cNvPr>
          <p:cNvSpPr txBox="1"/>
          <p:nvPr/>
        </p:nvSpPr>
        <p:spPr>
          <a:xfrm>
            <a:off x="884580" y="4537211"/>
            <a:ext cx="1704564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Poppins" panose="00000500000000000000" pitchFamily="2" charset="0"/>
                <a:cs typeface="Poppins" panose="00000500000000000000" pitchFamily="2" charset="0"/>
              </a:rPr>
              <a:t>Poverty Rate (%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FA9359-9664-5362-2335-FC57A7F8F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7861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4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7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1340181"/>
              </p:ext>
            </p:extLst>
          </p:nvPr>
        </p:nvGraphicFramePr>
        <p:xfrm>
          <a:off x="407368" y="1149927"/>
          <a:ext cx="11327432" cy="5526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3" name="Straight Connector 12"/>
          <p:cNvCxnSpPr>
            <a:cxnSpLocks/>
          </p:cNvCxnSpPr>
          <p:nvPr/>
        </p:nvCxnSpPr>
        <p:spPr>
          <a:xfrm>
            <a:off x="1015032" y="3538223"/>
            <a:ext cx="8392204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933812" y="3230446"/>
            <a:ext cx="2208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>
                <a:solidFill>
                  <a:srgbClr val="FF0000"/>
                </a:solidFill>
                <a:latin typeface="Cambria" pitchFamily="18" charset="0"/>
              </a:rPr>
              <a:t>UHH National = 70,8 </a:t>
            </a:r>
            <a:r>
              <a:rPr lang="id-ID" sz="1400" dirty="0" err="1">
                <a:solidFill>
                  <a:srgbClr val="FF0000"/>
                </a:solidFill>
                <a:latin typeface="Cambria" pitchFamily="18" charset="0"/>
              </a:rPr>
              <a:t>years</a:t>
            </a:r>
            <a:endParaRPr lang="id-ID" sz="1400" dirty="0">
              <a:solidFill>
                <a:srgbClr val="FF0000"/>
              </a:solidFill>
              <a:latin typeface="Cambria" pitchFamily="18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E03E5E7-20C2-7899-27D9-D81453D1AD99}"/>
              </a:ext>
            </a:extLst>
          </p:cNvPr>
          <p:cNvCxnSpPr>
            <a:cxnSpLocks/>
          </p:cNvCxnSpPr>
          <p:nvPr/>
        </p:nvCxnSpPr>
        <p:spPr>
          <a:xfrm flipV="1">
            <a:off x="2327563" y="1468581"/>
            <a:ext cx="0" cy="457200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3F756BA-BDD8-2FF1-9B9E-30E85B670BD5}"/>
              </a:ext>
            </a:extLst>
          </p:cNvPr>
          <p:cNvSpPr txBox="1"/>
          <p:nvPr/>
        </p:nvSpPr>
        <p:spPr>
          <a:xfrm>
            <a:off x="2327563" y="1924129"/>
            <a:ext cx="17059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>
                <a:solidFill>
                  <a:srgbClr val="FF0000"/>
                </a:solidFill>
                <a:latin typeface="Cambria" pitchFamily="18" charset="0"/>
              </a:rPr>
              <a:t>TFR National = 2,28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1A0156-C97D-0F25-B001-D2431036A421}"/>
              </a:ext>
            </a:extLst>
          </p:cNvPr>
          <p:cNvSpPr txBox="1"/>
          <p:nvPr/>
        </p:nvSpPr>
        <p:spPr>
          <a:xfrm>
            <a:off x="407368" y="304870"/>
            <a:ext cx="10620851" cy="488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id-ID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DISPARITY BEGAN SINCE BEGINNING</a:t>
            </a:r>
            <a:endParaRPr lang="en-ID" sz="3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6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53812"/>
              </p:ext>
            </p:extLst>
          </p:nvPr>
        </p:nvGraphicFramePr>
        <p:xfrm>
          <a:off x="429491" y="1108365"/>
          <a:ext cx="11286191" cy="5563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Straight Connector 8"/>
          <p:cNvCxnSpPr>
            <a:cxnSpLocks/>
          </p:cNvCxnSpPr>
          <p:nvPr/>
        </p:nvCxnSpPr>
        <p:spPr>
          <a:xfrm>
            <a:off x="911647" y="1717963"/>
            <a:ext cx="10321877" cy="5127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F3F00A7-B6A9-4E17-2B2C-4DA4926A4C60}"/>
              </a:ext>
            </a:extLst>
          </p:cNvPr>
          <p:cNvCxnSpPr>
            <a:cxnSpLocks/>
          </p:cNvCxnSpPr>
          <p:nvPr/>
        </p:nvCxnSpPr>
        <p:spPr>
          <a:xfrm flipV="1">
            <a:off x="1787236" y="1322904"/>
            <a:ext cx="0" cy="457200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81552C1-6EFE-8972-8333-C0C9186E15A6}"/>
              </a:ext>
            </a:extLst>
          </p:cNvPr>
          <p:cNvSpPr txBox="1"/>
          <p:nvPr/>
        </p:nvSpPr>
        <p:spPr>
          <a:xfrm>
            <a:off x="1197664" y="258598"/>
            <a:ext cx="9894406" cy="738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en-US" sz="2700" b="1" dirty="0">
                <a:solidFill>
                  <a:schemeClr val="tx1">
                    <a:lumMod val="65000"/>
                    <a:lumOff val="35000"/>
                  </a:schemeClr>
                </a:solidFill>
                <a:cs typeface="Poppins" panose="00000500000000000000" pitchFamily="50" charset="0"/>
              </a:rPr>
              <a:t>OUR TARGET IN 2045 – </a:t>
            </a:r>
          </a:p>
          <a:p>
            <a:pPr>
              <a:lnSpc>
                <a:spcPct val="75000"/>
              </a:lnSpc>
            </a:pPr>
            <a:r>
              <a:rPr lang="en-US" sz="2700" b="1" dirty="0">
                <a:solidFill>
                  <a:schemeClr val="tx1">
                    <a:lumMod val="65000"/>
                    <a:lumOff val="35000"/>
                  </a:schemeClr>
                </a:solidFill>
                <a:cs typeface="Poppins" panose="00000500000000000000" pitchFamily="50" charset="0"/>
              </a:rPr>
              <a:t>HOW TO CONVERGE LEFT BEHIND PROVINCES</a:t>
            </a:r>
            <a:endParaRPr lang="en-ID" sz="2700" dirty="0">
              <a:solidFill>
                <a:srgbClr val="FF0000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632A472-74C0-7AE7-5772-FDA8A01EA092}"/>
              </a:ext>
            </a:extLst>
          </p:cNvPr>
          <p:cNvSpPr/>
          <p:nvPr/>
        </p:nvSpPr>
        <p:spPr>
          <a:xfrm>
            <a:off x="1304899" y="2417618"/>
            <a:ext cx="2412665" cy="2707038"/>
          </a:xfrm>
          <a:custGeom>
            <a:avLst/>
            <a:gdLst>
              <a:gd name="connsiteX0" fmla="*/ 0 w 2124291"/>
              <a:gd name="connsiteY0" fmla="*/ 1305028 h 2610055"/>
              <a:gd name="connsiteX1" fmla="*/ 1062146 w 2124291"/>
              <a:gd name="connsiteY1" fmla="*/ 0 h 2610055"/>
              <a:gd name="connsiteX2" fmla="*/ 2124292 w 2124291"/>
              <a:gd name="connsiteY2" fmla="*/ 1305028 h 2610055"/>
              <a:gd name="connsiteX3" fmla="*/ 1062146 w 2124291"/>
              <a:gd name="connsiteY3" fmla="*/ 2610056 h 2610055"/>
              <a:gd name="connsiteX4" fmla="*/ 0 w 2124291"/>
              <a:gd name="connsiteY4" fmla="*/ 1305028 h 2610055"/>
              <a:gd name="connsiteX0" fmla="*/ 288373 w 2412665"/>
              <a:gd name="connsiteY0" fmla="*/ 1402010 h 2707038"/>
              <a:gd name="connsiteX1" fmla="*/ 311428 w 2412665"/>
              <a:gd name="connsiteY1" fmla="*/ 0 h 2707038"/>
              <a:gd name="connsiteX2" fmla="*/ 2412665 w 2412665"/>
              <a:gd name="connsiteY2" fmla="*/ 1402010 h 2707038"/>
              <a:gd name="connsiteX3" fmla="*/ 1350519 w 2412665"/>
              <a:gd name="connsiteY3" fmla="*/ 2707038 h 2707038"/>
              <a:gd name="connsiteX4" fmla="*/ 288373 w 2412665"/>
              <a:gd name="connsiteY4" fmla="*/ 1402010 h 270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2665" h="2707038">
                <a:moveTo>
                  <a:pt x="288373" y="1402010"/>
                </a:moveTo>
                <a:cubicBezTo>
                  <a:pt x="115191" y="950837"/>
                  <a:pt x="-275179" y="0"/>
                  <a:pt x="311428" y="0"/>
                </a:cubicBezTo>
                <a:cubicBezTo>
                  <a:pt x="898035" y="0"/>
                  <a:pt x="2412665" y="681263"/>
                  <a:pt x="2412665" y="1402010"/>
                </a:cubicBezTo>
                <a:cubicBezTo>
                  <a:pt x="2412665" y="2122757"/>
                  <a:pt x="1937126" y="2707038"/>
                  <a:pt x="1350519" y="2707038"/>
                </a:cubicBezTo>
                <a:cubicBezTo>
                  <a:pt x="763912" y="2707038"/>
                  <a:pt x="461555" y="1853183"/>
                  <a:pt x="288373" y="1402010"/>
                </a:cubicBezTo>
                <a:close/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n 3">
            <a:extLst>
              <a:ext uri="{FF2B5EF4-FFF2-40B4-BE49-F238E27FC236}">
                <a16:creationId xmlns:a16="http://schemas.microsoft.com/office/drawing/2014/main" id="{47F7C880-B349-385A-F4D9-BE670A0A43EB}"/>
              </a:ext>
            </a:extLst>
          </p:cNvPr>
          <p:cNvSpPr/>
          <p:nvPr/>
        </p:nvSpPr>
        <p:spPr>
          <a:xfrm>
            <a:off x="911647" y="1293754"/>
            <a:ext cx="925869" cy="848417"/>
          </a:xfrm>
          <a:prstGeom prst="su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0000"/>
                </a:solidFill>
              </a:rPr>
              <a:t>8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02ACF2-A8DA-8BDF-93BA-C3D8C95E1E1B}"/>
              </a:ext>
            </a:extLst>
          </p:cNvPr>
          <p:cNvSpPr txBox="1"/>
          <p:nvPr/>
        </p:nvSpPr>
        <p:spPr>
          <a:xfrm>
            <a:off x="1934404" y="1298883"/>
            <a:ext cx="17831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ational </a:t>
            </a:r>
            <a:r>
              <a:rPr lang="id-ID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FR = </a:t>
            </a:r>
            <a:r>
              <a:rPr lang="en-US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4C1FB4-CE95-8271-FABC-9358CE2E4ACF}"/>
              </a:ext>
            </a:extLst>
          </p:cNvPr>
          <p:cNvSpPr txBox="1"/>
          <p:nvPr/>
        </p:nvSpPr>
        <p:spPr>
          <a:xfrm>
            <a:off x="7987517" y="1717962"/>
            <a:ext cx="33393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ational Life Expectancy</a:t>
            </a:r>
            <a:r>
              <a:rPr lang="id-ID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= </a:t>
            </a:r>
            <a:r>
              <a:rPr lang="en-US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0</a:t>
            </a:r>
            <a:r>
              <a:rPr lang="id-ID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40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years</a:t>
            </a:r>
            <a:endParaRPr lang="id-ID" sz="1400" dirty="0">
              <a:solidFill>
                <a:srgbClr val="FF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6673AC4-886B-211E-0EB2-ED0213594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6707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6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0056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244" y="181552"/>
            <a:ext cx="8393502" cy="79081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d-ID" sz="2400" b="1" dirty="0">
                <a:solidFill>
                  <a:schemeClr val="accent5"/>
                </a:solidFill>
                <a:latin typeface="+mn-lt"/>
                <a:cs typeface="Poppins" panose="00000500000000000000" pitchFamily="2" charset="0"/>
              </a:rPr>
              <a:t>DEMOGRAPHIC DIVIDEND, </a:t>
            </a:r>
            <a:r>
              <a:rPr lang="id-ID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Poppins" panose="00000500000000000000" pitchFamily="2" charset="0"/>
              </a:rPr>
              <a:t>AN OPPORTUNITY TO ERRADICATE POVERTY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8622292"/>
              </p:ext>
            </p:extLst>
          </p:nvPr>
        </p:nvGraphicFramePr>
        <p:xfrm>
          <a:off x="335404" y="1220755"/>
          <a:ext cx="8354015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785443" y="1484784"/>
            <a:ext cx="3168764" cy="3024336"/>
          </a:xfrm>
          <a:prstGeom prst="rect">
            <a:avLst/>
          </a:prstGeom>
        </p:spPr>
        <p:txBody>
          <a:bodyPr vert="horz" lIns="91438" tIns="45719" rIns="91438" bIns="45719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rgbClr val="003D70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508F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rgbClr val="00508F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508F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508F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quences of high population growth: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w economic growth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verty and inequality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ty of education and health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ood security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nvironment</a:t>
            </a:r>
          </a:p>
          <a:p>
            <a:r>
              <a:rPr lang="en-US" sz="16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formal migration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4A2C7EA-7FBF-3D4A-9E2C-CD07CE645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7861" y="6310312"/>
            <a:ext cx="2743200" cy="365125"/>
          </a:xfrm>
        </p:spPr>
        <p:txBody>
          <a:bodyPr/>
          <a:lstStyle/>
          <a:p>
            <a:fld id="{F1A0F239-33F8-4DDE-9A1B-199248B2156C}" type="slidenum">
              <a:rPr lang="id-ID" smtClean="0">
                <a:solidFill>
                  <a:schemeClr val="accent5"/>
                </a:solidFill>
              </a:rPr>
              <a:t>7</a:t>
            </a:fld>
            <a:endParaRPr lang="id-ID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3057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09FB1800-5C69-AC72-D4A0-A2BAD3045635}"/>
              </a:ext>
            </a:extLst>
          </p:cNvPr>
          <p:cNvSpPr txBox="1"/>
          <p:nvPr/>
        </p:nvSpPr>
        <p:spPr>
          <a:xfrm>
            <a:off x="2633869" y="382657"/>
            <a:ext cx="5043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ducation and Health Consumption by Region, 2019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C379D6B-B597-4B8C-9FDA-A2CC8E0D67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7434050"/>
              </p:ext>
            </p:extLst>
          </p:nvPr>
        </p:nvGraphicFramePr>
        <p:xfrm>
          <a:off x="56500" y="1215733"/>
          <a:ext cx="4015656" cy="2539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ADA625E-4590-40B1-8022-18B76B3163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6528468"/>
              </p:ext>
            </p:extLst>
          </p:nvPr>
        </p:nvGraphicFramePr>
        <p:xfrm>
          <a:off x="4078272" y="1202732"/>
          <a:ext cx="4015656" cy="2529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56686C7-02D4-4016-8045-D4F330F76C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6703943"/>
              </p:ext>
            </p:extLst>
          </p:nvPr>
        </p:nvGraphicFramePr>
        <p:xfrm>
          <a:off x="8093928" y="1193207"/>
          <a:ext cx="4015656" cy="2539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FD7FB60-6596-49D7-A4D6-9B55DEFE4C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1475598"/>
              </p:ext>
            </p:extLst>
          </p:nvPr>
        </p:nvGraphicFramePr>
        <p:xfrm>
          <a:off x="4104190" y="3914059"/>
          <a:ext cx="4015656" cy="2539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F6C24F1-6389-421A-8A40-D612929CA2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5211241"/>
              </p:ext>
            </p:extLst>
          </p:nvPr>
        </p:nvGraphicFramePr>
        <p:xfrm>
          <a:off x="56500" y="3914060"/>
          <a:ext cx="4015656" cy="2539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E19E7CB-9E96-41F9-88FD-14786771E7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7033912"/>
              </p:ext>
            </p:extLst>
          </p:nvPr>
        </p:nvGraphicFramePr>
        <p:xfrm>
          <a:off x="8119846" y="3914059"/>
          <a:ext cx="4015656" cy="2539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07512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09FB1800-5C69-AC72-D4A0-A2BAD3045635}"/>
              </a:ext>
            </a:extLst>
          </p:cNvPr>
          <p:cNvSpPr txBox="1"/>
          <p:nvPr/>
        </p:nvSpPr>
        <p:spPr>
          <a:xfrm>
            <a:off x="2633869" y="382657"/>
            <a:ext cx="69846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arison </a:t>
            </a:r>
            <a:r>
              <a:rPr lang="en-US" b="1" dirty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ducation and Health Consumption per Region, 2022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D6995C2-5F5C-4FB1-8A14-D10FA527C2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1503895"/>
              </p:ext>
            </p:extLst>
          </p:nvPr>
        </p:nvGraphicFramePr>
        <p:xfrm>
          <a:off x="92251" y="954860"/>
          <a:ext cx="4011488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6810754-F385-497A-B718-D3AC32770B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6312456"/>
              </p:ext>
            </p:extLst>
          </p:nvPr>
        </p:nvGraphicFramePr>
        <p:xfrm>
          <a:off x="4103739" y="951685"/>
          <a:ext cx="4011489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B639561-ED68-4C35-B8A7-D1E8865935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7600902"/>
              </p:ext>
            </p:extLst>
          </p:nvPr>
        </p:nvGraphicFramePr>
        <p:xfrm>
          <a:off x="8115228" y="948510"/>
          <a:ext cx="4011488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84E5D2F-A1AE-4970-A62C-E5CA2772F3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2215707"/>
              </p:ext>
            </p:extLst>
          </p:nvPr>
        </p:nvGraphicFramePr>
        <p:xfrm>
          <a:off x="4103739" y="4009210"/>
          <a:ext cx="4011489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D0194D8A-DE26-4663-A0AF-D714270C07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476854"/>
              </p:ext>
            </p:extLst>
          </p:nvPr>
        </p:nvGraphicFramePr>
        <p:xfrm>
          <a:off x="92251" y="4006034"/>
          <a:ext cx="4011488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D92F329-0649-4D79-81ED-94709B9E24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4784044"/>
              </p:ext>
            </p:extLst>
          </p:nvPr>
        </p:nvGraphicFramePr>
        <p:xfrm>
          <a:off x="8115227" y="4006034"/>
          <a:ext cx="4011488" cy="265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1087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NkaBEwPEiy4uTT9mUi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CX0x56KU6IG.RZTFd8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ioDqqBKkaTDqlPoMO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8RyHxz.ky2WNTE00n4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NkaBEwPEiy4uTT9mUi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CX0x56KU6IG.RZTFd8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ioDqqBKkaTDqlPoMOC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8RyHxz.ky2WNTE00n4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954</TotalTime>
  <Words>974</Words>
  <Application>Microsoft Macintosh PowerPoint</Application>
  <PresentationFormat>Widescreen</PresentationFormat>
  <Paragraphs>173</Paragraphs>
  <Slides>2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Arial Nova</vt:lpstr>
      <vt:lpstr>Arial Nova Cond</vt:lpstr>
      <vt:lpstr>Calibri</vt:lpstr>
      <vt:lpstr>Calibri Light</vt:lpstr>
      <vt:lpstr>Cambria</vt:lpstr>
      <vt:lpstr>Century Gothic</vt:lpstr>
      <vt:lpstr>Lato</vt:lpstr>
      <vt:lpstr>Poppins</vt:lpstr>
      <vt:lpstr>Roboto</vt:lpstr>
      <vt:lpstr>Segoe UI</vt:lpstr>
      <vt:lpstr>Office Theme</vt:lpstr>
      <vt:lpstr>think-cell Slide</vt:lpstr>
      <vt:lpstr>Regional Disparity in Demographic Dividend</vt:lpstr>
      <vt:lpstr>OUTLINE</vt:lpstr>
      <vt:lpstr>Motivation</vt:lpstr>
      <vt:lpstr>CHALLENGES: ECONOMIC CONTRIBUTION OF THE EASTERN INDONESIA  HAS BEEN STAGNANT</vt:lpstr>
      <vt:lpstr>PowerPoint Presentation</vt:lpstr>
      <vt:lpstr>PowerPoint Presentation</vt:lpstr>
      <vt:lpstr>DEMOGRAPHIC DIVIDEND, AN OPPORTUNITY TO ERRADICATE POVER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fferences in Productivity Between Provinces as One of the Causes of Inequality, 2012</vt:lpstr>
      <vt:lpstr>PowerPoint Presentation</vt:lpstr>
      <vt:lpstr>PowerPoint Presentation</vt:lpstr>
      <vt:lpstr>QUESTIONS</vt:lpstr>
      <vt:lpstr>Thank you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iki</dc:creator>
  <cp:lastModifiedBy>Microsoft Office User</cp:lastModifiedBy>
  <cp:revision>559</cp:revision>
  <dcterms:created xsi:type="dcterms:W3CDTF">2015-08-03T01:57:55Z</dcterms:created>
  <dcterms:modified xsi:type="dcterms:W3CDTF">2023-02-16T15:05:53Z</dcterms:modified>
</cp:coreProperties>
</file>